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5" r:id="rId4"/>
    <p:sldMasterId id="2147483662" r:id="rId5"/>
    <p:sldMasterId id="2147483680" r:id="rId6"/>
  </p:sldMasterIdLst>
  <p:notesMasterIdLst>
    <p:notesMasterId r:id="rId24"/>
  </p:notesMasterIdLst>
  <p:handoutMasterIdLst>
    <p:handoutMasterId r:id="rId25"/>
  </p:handoutMasterIdLst>
  <p:sldIdLst>
    <p:sldId id="312" r:id="rId7"/>
    <p:sldId id="306" r:id="rId8"/>
    <p:sldId id="295" r:id="rId9"/>
    <p:sldId id="305" r:id="rId10"/>
    <p:sldId id="304" r:id="rId11"/>
    <p:sldId id="299" r:id="rId12"/>
    <p:sldId id="307" r:id="rId13"/>
    <p:sldId id="347" r:id="rId14"/>
    <p:sldId id="308" r:id="rId15"/>
    <p:sldId id="309" r:id="rId16"/>
    <p:sldId id="310" r:id="rId17"/>
    <p:sldId id="311" r:id="rId18"/>
    <p:sldId id="272" r:id="rId19"/>
    <p:sldId id="271" r:id="rId20"/>
    <p:sldId id="301" r:id="rId21"/>
    <p:sldId id="303" r:id="rId22"/>
    <p:sldId id="346" r:id="rId23"/>
  </p:sldIdLst>
  <p:sldSz cx="20104100" cy="11315700"/>
  <p:notesSz cx="9947275" cy="68151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2" roundtripDataSignature="AMtx7mh7q3xpIwk4qY00UgrTwVK46xTPt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Гость" initials="Го" lastIdx="8" clrIdx="0">
    <p:extLst>
      <p:ext uri="{19B8F6BF-5375-455C-9EA6-DF929625EA0E}">
        <p15:presenceInfo xmlns:p15="http://schemas.microsoft.com/office/powerpoint/2012/main" userId="S::urn:spo:anon#6301cac2615989df4a7f2a66516e9b2217a16f25be57438a6fdfcad90d523d42::" providerId="AD"/>
      </p:ext>
    </p:extLst>
  </p:cmAuthor>
  <p:cmAuthor id="2" name="Пешкова Василиса Олеговна" initials="ПО" lastIdx="1" clrIdx="1">
    <p:extLst>
      <p:ext uri="{19B8F6BF-5375-455C-9EA6-DF929625EA0E}">
        <p15:presenceInfo xmlns:p15="http://schemas.microsoft.com/office/powerpoint/2012/main" userId="S::v.peshkova@nti.work::8cab216e-47e0-4f45-a26c-c341913e10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7FF"/>
    <a:srgbClr val="F2FAFF"/>
    <a:srgbClr val="FFEAA7"/>
    <a:srgbClr val="20D7C0"/>
    <a:srgbClr val="FF8200"/>
    <a:srgbClr val="0640BC"/>
    <a:srgbClr val="F1FBFF"/>
    <a:srgbClr val="086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A88DF0FD-1832-459D-A4AA-4501EE5D750F}">
  <a:tblStyle styleId="{A88DF0FD-1832-459D-A4AA-4501EE5D750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88FB5F3-C342-4D8A-924C-601262E7DF53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CF4"/>
          </a:solidFill>
        </a:fill>
      </a:tcStyle>
    </a:wholeTbl>
    <a:band1H>
      <a:tcTxStyle/>
      <a:tcStyle>
        <a:tcBdr/>
        <a:fill>
          <a:solidFill>
            <a:srgbClr val="CFD7E7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FD7E7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979D45DF-C3B2-4E91-9913-E00A4624A0FA}" styleName="Table_2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127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/>
      <a:tcStyle>
        <a:tcBdr>
          <a:bottom>
            <a:ln w="127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30" autoAdjust="0"/>
    <p:restoredTop sz="95604" autoAdjust="0"/>
  </p:normalViewPr>
  <p:slideViewPr>
    <p:cSldViewPr snapToGrid="0">
      <p:cViewPr varScale="1">
        <p:scale>
          <a:sx n="58" d="100"/>
          <a:sy n="58" d="100"/>
        </p:scale>
        <p:origin x="523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2" d="100"/>
          <a:sy n="112" d="100"/>
        </p:scale>
        <p:origin x="2136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32" Type="http://customschemas.google.com/relationships/presentationmetadata" Target="metadata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66D51-DF8A-4FA0-9BA2-187FC7D27DCD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C15C295-024C-4ABE-94BA-6F3B800415CF}">
      <dgm:prSet/>
      <dgm:spPr/>
      <dgm:t>
        <a:bodyPr/>
        <a:lstStyle/>
        <a:p>
          <a:r>
            <a:rPr lang="ru-RU" dirty="0"/>
            <a:t>Проблема реализации пропусков в центры.</a:t>
          </a:r>
        </a:p>
      </dgm:t>
    </dgm:pt>
    <dgm:pt modelId="{58E89049-0B5C-423D-BFBC-C9E149305716}" type="parTrans" cxnId="{6BE2A46E-CE95-4EA0-8C41-2859D92EE4AD}">
      <dgm:prSet/>
      <dgm:spPr/>
      <dgm:t>
        <a:bodyPr/>
        <a:lstStyle/>
        <a:p>
          <a:endParaRPr lang="ru-RU"/>
        </a:p>
      </dgm:t>
    </dgm:pt>
    <dgm:pt modelId="{C823459D-09C1-4594-84AE-6B39F30B86CC}" type="sibTrans" cxnId="{6BE2A46E-CE95-4EA0-8C41-2859D92EE4AD}">
      <dgm:prSet/>
      <dgm:spPr>
        <a:solidFill>
          <a:schemeClr val="bg1"/>
        </a:solidFill>
      </dgm:spPr>
      <dgm:t>
        <a:bodyPr/>
        <a:lstStyle/>
        <a:p>
          <a:endParaRPr lang="ru-RU"/>
        </a:p>
      </dgm:t>
    </dgm:pt>
    <dgm:pt modelId="{75733A61-A5EA-4A26-B8B3-A83B590BEDD9}">
      <dgm:prSet/>
      <dgm:spPr/>
      <dgm:t>
        <a:bodyPr/>
        <a:lstStyle/>
        <a:p>
          <a:r>
            <a:rPr lang="ru-RU" dirty="0"/>
            <a:t> Проблема отслеживания уникальных посетителей и учёта времени их нахождения в них.</a:t>
          </a:r>
        </a:p>
      </dgm:t>
    </dgm:pt>
    <dgm:pt modelId="{D0D5AEF5-A2C4-4813-B03E-B8ACD0CAF5BC}" type="parTrans" cxnId="{47116684-0300-4D18-A5E6-9809836B8CF4}">
      <dgm:prSet/>
      <dgm:spPr/>
      <dgm:t>
        <a:bodyPr/>
        <a:lstStyle/>
        <a:p>
          <a:endParaRPr lang="ru-RU"/>
        </a:p>
      </dgm:t>
    </dgm:pt>
    <dgm:pt modelId="{CC6BBE4F-F015-4797-BBCC-3E003FAFF091}" type="sibTrans" cxnId="{47116684-0300-4D18-A5E6-9809836B8CF4}">
      <dgm:prSet/>
      <dgm:spPr/>
      <dgm:t>
        <a:bodyPr/>
        <a:lstStyle/>
        <a:p>
          <a:endParaRPr lang="ru-RU"/>
        </a:p>
      </dgm:t>
    </dgm:pt>
    <dgm:pt modelId="{A3933F90-9B36-40A2-9C11-8291258CA18C}" type="pres">
      <dgm:prSet presAssocID="{66466D51-DF8A-4FA0-9BA2-187FC7D27DCD}" presName="linearFlow" presStyleCnt="0">
        <dgm:presLayoutVars>
          <dgm:resizeHandles val="exact"/>
        </dgm:presLayoutVars>
      </dgm:prSet>
      <dgm:spPr/>
    </dgm:pt>
    <dgm:pt modelId="{CCF28864-D53C-4D34-9CD3-F22AA9A52811}" type="pres">
      <dgm:prSet presAssocID="{EC15C295-024C-4ABE-94BA-6F3B800415CF}" presName="node" presStyleLbl="node1" presStyleIdx="0" presStyleCnt="2">
        <dgm:presLayoutVars>
          <dgm:bulletEnabled val="1"/>
        </dgm:presLayoutVars>
      </dgm:prSet>
      <dgm:spPr/>
    </dgm:pt>
    <dgm:pt modelId="{824B13EF-9C5F-4015-828C-93A4E2A5947D}" type="pres">
      <dgm:prSet presAssocID="{C823459D-09C1-4594-84AE-6B39F30B86CC}" presName="sibTrans" presStyleLbl="sibTrans2D1" presStyleIdx="0" presStyleCnt="1" custLinFactNeighborX="14074" custLinFactNeighborY="9499"/>
      <dgm:spPr/>
    </dgm:pt>
    <dgm:pt modelId="{5D62EBB0-16F8-4269-8210-AE2CC6A7A130}" type="pres">
      <dgm:prSet presAssocID="{C823459D-09C1-4594-84AE-6B39F30B86CC}" presName="connectorText" presStyleLbl="sibTrans2D1" presStyleIdx="0" presStyleCnt="1"/>
      <dgm:spPr/>
    </dgm:pt>
    <dgm:pt modelId="{19B11579-7EB9-4A63-B897-6BF602034F30}" type="pres">
      <dgm:prSet presAssocID="{75733A61-A5EA-4A26-B8B3-A83B590BEDD9}" presName="node" presStyleLbl="node1" presStyleIdx="1" presStyleCnt="2" custLinFactNeighborX="226" custLinFactNeighborY="3250">
        <dgm:presLayoutVars>
          <dgm:bulletEnabled val="1"/>
        </dgm:presLayoutVars>
      </dgm:prSet>
      <dgm:spPr/>
    </dgm:pt>
  </dgm:ptLst>
  <dgm:cxnLst>
    <dgm:cxn modelId="{6BE2A46E-CE95-4EA0-8C41-2859D92EE4AD}" srcId="{66466D51-DF8A-4FA0-9BA2-187FC7D27DCD}" destId="{EC15C295-024C-4ABE-94BA-6F3B800415CF}" srcOrd="0" destOrd="0" parTransId="{58E89049-0B5C-423D-BFBC-C9E149305716}" sibTransId="{C823459D-09C1-4594-84AE-6B39F30B86CC}"/>
    <dgm:cxn modelId="{47116684-0300-4D18-A5E6-9809836B8CF4}" srcId="{66466D51-DF8A-4FA0-9BA2-187FC7D27DCD}" destId="{75733A61-A5EA-4A26-B8B3-A83B590BEDD9}" srcOrd="1" destOrd="0" parTransId="{D0D5AEF5-A2C4-4813-B03E-B8ACD0CAF5BC}" sibTransId="{CC6BBE4F-F015-4797-BBCC-3E003FAFF091}"/>
    <dgm:cxn modelId="{DD80399F-2741-4638-8B04-168D7F66D2B8}" type="presOf" srcId="{66466D51-DF8A-4FA0-9BA2-187FC7D27DCD}" destId="{A3933F90-9B36-40A2-9C11-8291258CA18C}" srcOrd="0" destOrd="0" presId="urn:microsoft.com/office/officeart/2005/8/layout/process2"/>
    <dgm:cxn modelId="{8F0011C6-603F-4248-A81B-412DE47AFE6C}" type="presOf" srcId="{C823459D-09C1-4594-84AE-6B39F30B86CC}" destId="{5D62EBB0-16F8-4269-8210-AE2CC6A7A130}" srcOrd="1" destOrd="0" presId="urn:microsoft.com/office/officeart/2005/8/layout/process2"/>
    <dgm:cxn modelId="{28AB30E2-99C0-4302-8725-B84772AE0EFD}" type="presOf" srcId="{75733A61-A5EA-4A26-B8B3-A83B590BEDD9}" destId="{19B11579-7EB9-4A63-B897-6BF602034F30}" srcOrd="0" destOrd="0" presId="urn:microsoft.com/office/officeart/2005/8/layout/process2"/>
    <dgm:cxn modelId="{84020CE7-CFBE-4035-A1AB-E531D3ED8E1E}" type="presOf" srcId="{C823459D-09C1-4594-84AE-6B39F30B86CC}" destId="{824B13EF-9C5F-4015-828C-93A4E2A5947D}" srcOrd="0" destOrd="0" presId="urn:microsoft.com/office/officeart/2005/8/layout/process2"/>
    <dgm:cxn modelId="{D2173EFA-77AB-4651-B91B-FF2D41837B5C}" type="presOf" srcId="{EC15C295-024C-4ABE-94BA-6F3B800415CF}" destId="{CCF28864-D53C-4D34-9CD3-F22AA9A52811}" srcOrd="0" destOrd="0" presId="urn:microsoft.com/office/officeart/2005/8/layout/process2"/>
    <dgm:cxn modelId="{2E4DEF19-CF53-45B2-9033-653673FB1271}" type="presParOf" srcId="{A3933F90-9B36-40A2-9C11-8291258CA18C}" destId="{CCF28864-D53C-4D34-9CD3-F22AA9A52811}" srcOrd="0" destOrd="0" presId="urn:microsoft.com/office/officeart/2005/8/layout/process2"/>
    <dgm:cxn modelId="{BF721BD5-22D1-4CE8-89AA-4F8A20B5E416}" type="presParOf" srcId="{A3933F90-9B36-40A2-9C11-8291258CA18C}" destId="{824B13EF-9C5F-4015-828C-93A4E2A5947D}" srcOrd="1" destOrd="0" presId="urn:microsoft.com/office/officeart/2005/8/layout/process2"/>
    <dgm:cxn modelId="{C87E885C-6DBD-4DF5-8052-2EE22AACD2D3}" type="presParOf" srcId="{824B13EF-9C5F-4015-828C-93A4E2A5947D}" destId="{5D62EBB0-16F8-4269-8210-AE2CC6A7A130}" srcOrd="0" destOrd="0" presId="urn:microsoft.com/office/officeart/2005/8/layout/process2"/>
    <dgm:cxn modelId="{9DBAB381-2292-49D7-8E19-6FBA15ED8A94}" type="presParOf" srcId="{A3933F90-9B36-40A2-9C11-8291258CA18C}" destId="{19B11579-7EB9-4A63-B897-6BF602034F30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45B528B-3917-4ADE-86B6-3B8C7850B21B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D34F6C1-4CA0-43CB-8B33-516BBCAEF5E7}">
      <dgm:prSet/>
      <dgm:spPr/>
      <dgm:t>
        <a:bodyPr/>
        <a:lstStyle/>
        <a:p>
          <a:r>
            <a:rPr lang="ru-RU" dirty="0"/>
            <a:t>В нашем ПО будет генерировать </a:t>
          </a:r>
          <a:r>
            <a:rPr lang="en-US" dirty="0"/>
            <a:t>QR</a:t>
          </a:r>
          <a:r>
            <a:rPr lang="ru-RU" dirty="0"/>
            <a:t>-код, который и будет таким пропуском. Считывать его будут системы установленные на входе в центры.</a:t>
          </a:r>
        </a:p>
      </dgm:t>
    </dgm:pt>
    <dgm:pt modelId="{3E59D790-8047-4ABE-9B08-6B52C9501784}" type="parTrans" cxnId="{C0F95BA3-FC5B-4342-92BF-597AA692ED71}">
      <dgm:prSet/>
      <dgm:spPr/>
      <dgm:t>
        <a:bodyPr/>
        <a:lstStyle/>
        <a:p>
          <a:endParaRPr lang="ru-RU"/>
        </a:p>
      </dgm:t>
    </dgm:pt>
    <dgm:pt modelId="{9C052654-FF0D-428B-ACF8-E743FAA7BE62}" type="sibTrans" cxnId="{C0F95BA3-FC5B-4342-92BF-597AA692ED71}">
      <dgm:prSet/>
      <dgm:spPr>
        <a:solidFill>
          <a:srgbClr val="F1F7FF"/>
        </a:solidFill>
      </dgm:spPr>
      <dgm:t>
        <a:bodyPr/>
        <a:lstStyle/>
        <a:p>
          <a:endParaRPr lang="ru-RU" dirty="0"/>
        </a:p>
      </dgm:t>
    </dgm:pt>
    <dgm:pt modelId="{E161852C-9FB4-4FB2-A2FB-8360F9994CBE}">
      <dgm:prSet/>
      <dgm:spPr/>
      <dgm:t>
        <a:bodyPr/>
        <a:lstStyle/>
        <a:p>
          <a:r>
            <a:rPr lang="ru-RU" dirty="0"/>
            <a:t>Также будет возможность отметиться на занятии.</a:t>
          </a:r>
        </a:p>
        <a:p>
          <a:r>
            <a:rPr lang="ru-RU" dirty="0"/>
            <a:t>Все записи будут зафиксированы в  приложении.</a:t>
          </a:r>
        </a:p>
        <a:p>
          <a:r>
            <a:rPr lang="ru-RU" dirty="0"/>
            <a:t>Также при выходе посетители будут сканировать </a:t>
          </a:r>
          <a:r>
            <a:rPr lang="en-US" dirty="0"/>
            <a:t>QR-</a:t>
          </a:r>
          <a:r>
            <a:rPr lang="ru-RU" dirty="0"/>
            <a:t>код, тем самым будет зафиксировано время входа и выхода.</a:t>
          </a:r>
        </a:p>
      </dgm:t>
    </dgm:pt>
    <dgm:pt modelId="{87C8537E-55E4-46C5-B162-D6F5BE04D226}" type="parTrans" cxnId="{5DEA357C-9D70-46C1-ACCE-652324D6C47A}">
      <dgm:prSet/>
      <dgm:spPr/>
      <dgm:t>
        <a:bodyPr/>
        <a:lstStyle/>
        <a:p>
          <a:endParaRPr lang="ru-RU"/>
        </a:p>
      </dgm:t>
    </dgm:pt>
    <dgm:pt modelId="{D363EF27-99FF-46D9-9AC0-3DA5794D0CAF}" type="sibTrans" cxnId="{5DEA357C-9D70-46C1-ACCE-652324D6C47A}">
      <dgm:prSet/>
      <dgm:spPr/>
      <dgm:t>
        <a:bodyPr/>
        <a:lstStyle/>
        <a:p>
          <a:endParaRPr lang="ru-RU"/>
        </a:p>
      </dgm:t>
    </dgm:pt>
    <dgm:pt modelId="{C0F43873-575A-41EC-A431-5509426AC92F}" type="pres">
      <dgm:prSet presAssocID="{945B528B-3917-4ADE-86B6-3B8C7850B21B}" presName="linearFlow" presStyleCnt="0">
        <dgm:presLayoutVars>
          <dgm:resizeHandles val="exact"/>
        </dgm:presLayoutVars>
      </dgm:prSet>
      <dgm:spPr/>
    </dgm:pt>
    <dgm:pt modelId="{EDEE964A-FB44-4E56-8CE2-681FA5B86C53}" type="pres">
      <dgm:prSet presAssocID="{4D34F6C1-4CA0-43CB-8B33-516BBCAEF5E7}" presName="node" presStyleLbl="node1" presStyleIdx="0" presStyleCnt="2">
        <dgm:presLayoutVars>
          <dgm:bulletEnabled val="1"/>
        </dgm:presLayoutVars>
      </dgm:prSet>
      <dgm:spPr/>
    </dgm:pt>
    <dgm:pt modelId="{5C663B3A-8A83-4B88-AA73-59A703DC822D}" type="pres">
      <dgm:prSet presAssocID="{9C052654-FF0D-428B-ACF8-E743FAA7BE62}" presName="sibTrans" presStyleLbl="sibTrans2D1" presStyleIdx="0" presStyleCnt="1" custLinFactNeighborX="-2144" custLinFactNeighborY="-2924"/>
      <dgm:spPr/>
    </dgm:pt>
    <dgm:pt modelId="{86E76DA4-E136-480D-94FF-CBC2E3BEDDB4}" type="pres">
      <dgm:prSet presAssocID="{9C052654-FF0D-428B-ACF8-E743FAA7BE62}" presName="connectorText" presStyleLbl="sibTrans2D1" presStyleIdx="0" presStyleCnt="1"/>
      <dgm:spPr/>
    </dgm:pt>
    <dgm:pt modelId="{1B81DE09-F6FE-4F39-8F3A-C01344A034A9}" type="pres">
      <dgm:prSet presAssocID="{E161852C-9FB4-4FB2-A2FB-8360F9994CBE}" presName="node" presStyleLbl="node1" presStyleIdx="1" presStyleCnt="2">
        <dgm:presLayoutVars>
          <dgm:bulletEnabled val="1"/>
        </dgm:presLayoutVars>
      </dgm:prSet>
      <dgm:spPr/>
    </dgm:pt>
  </dgm:ptLst>
  <dgm:cxnLst>
    <dgm:cxn modelId="{AA346F0F-2E30-4777-B73E-E2EB1622196C}" type="presOf" srcId="{4D34F6C1-4CA0-43CB-8B33-516BBCAEF5E7}" destId="{EDEE964A-FB44-4E56-8CE2-681FA5B86C53}" srcOrd="0" destOrd="0" presId="urn:microsoft.com/office/officeart/2005/8/layout/process2"/>
    <dgm:cxn modelId="{B019ED19-9709-48E4-9EF9-DC456ED89112}" type="presOf" srcId="{945B528B-3917-4ADE-86B6-3B8C7850B21B}" destId="{C0F43873-575A-41EC-A431-5509426AC92F}" srcOrd="0" destOrd="0" presId="urn:microsoft.com/office/officeart/2005/8/layout/process2"/>
    <dgm:cxn modelId="{5DEA357C-9D70-46C1-ACCE-652324D6C47A}" srcId="{945B528B-3917-4ADE-86B6-3B8C7850B21B}" destId="{E161852C-9FB4-4FB2-A2FB-8360F9994CBE}" srcOrd="1" destOrd="0" parTransId="{87C8537E-55E4-46C5-B162-D6F5BE04D226}" sibTransId="{D363EF27-99FF-46D9-9AC0-3DA5794D0CAF}"/>
    <dgm:cxn modelId="{42B14884-8836-405A-92A3-312E5032093D}" type="presOf" srcId="{9C052654-FF0D-428B-ACF8-E743FAA7BE62}" destId="{5C663B3A-8A83-4B88-AA73-59A703DC822D}" srcOrd="0" destOrd="0" presId="urn:microsoft.com/office/officeart/2005/8/layout/process2"/>
    <dgm:cxn modelId="{0EDE8095-438B-41BA-94EF-E8C5B75D8BD4}" type="presOf" srcId="{9C052654-FF0D-428B-ACF8-E743FAA7BE62}" destId="{86E76DA4-E136-480D-94FF-CBC2E3BEDDB4}" srcOrd="1" destOrd="0" presId="urn:microsoft.com/office/officeart/2005/8/layout/process2"/>
    <dgm:cxn modelId="{C0F95BA3-FC5B-4342-92BF-597AA692ED71}" srcId="{945B528B-3917-4ADE-86B6-3B8C7850B21B}" destId="{4D34F6C1-4CA0-43CB-8B33-516BBCAEF5E7}" srcOrd="0" destOrd="0" parTransId="{3E59D790-8047-4ABE-9B08-6B52C9501784}" sibTransId="{9C052654-FF0D-428B-ACF8-E743FAA7BE62}"/>
    <dgm:cxn modelId="{D71C32C6-1CF8-493E-98CD-46948738E1A3}" type="presOf" srcId="{E161852C-9FB4-4FB2-A2FB-8360F9994CBE}" destId="{1B81DE09-F6FE-4F39-8F3A-C01344A034A9}" srcOrd="0" destOrd="0" presId="urn:microsoft.com/office/officeart/2005/8/layout/process2"/>
    <dgm:cxn modelId="{0596D70E-790D-4E7C-AD58-43FDC3615799}" type="presParOf" srcId="{C0F43873-575A-41EC-A431-5509426AC92F}" destId="{EDEE964A-FB44-4E56-8CE2-681FA5B86C53}" srcOrd="0" destOrd="0" presId="urn:microsoft.com/office/officeart/2005/8/layout/process2"/>
    <dgm:cxn modelId="{CBEEAEA5-A1CE-481C-94F6-B3EB979FD572}" type="presParOf" srcId="{C0F43873-575A-41EC-A431-5509426AC92F}" destId="{5C663B3A-8A83-4B88-AA73-59A703DC822D}" srcOrd="1" destOrd="0" presId="urn:microsoft.com/office/officeart/2005/8/layout/process2"/>
    <dgm:cxn modelId="{EAD6A633-1DDA-40A1-9C71-B69860809CC2}" type="presParOf" srcId="{5C663B3A-8A83-4B88-AA73-59A703DC822D}" destId="{86E76DA4-E136-480D-94FF-CBC2E3BEDDB4}" srcOrd="0" destOrd="0" presId="urn:microsoft.com/office/officeart/2005/8/layout/process2"/>
    <dgm:cxn modelId="{AA958C4F-0A64-4505-B60D-08B9DE67758C}" type="presParOf" srcId="{C0F43873-575A-41EC-A431-5509426AC92F}" destId="{1B81DE09-F6FE-4F39-8F3A-C01344A034A9}" srcOrd="2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F28864-D53C-4D34-9CD3-F22AA9A52811}">
      <dsp:nvSpPr>
        <dsp:cNvPr id="0" name=""/>
        <dsp:cNvSpPr/>
      </dsp:nvSpPr>
      <dsp:spPr>
        <a:xfrm>
          <a:off x="1460589" y="995"/>
          <a:ext cx="5871983" cy="32622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kern="1200" dirty="0"/>
            <a:t>Проблема реализации пропусков в центры.</a:t>
          </a:r>
        </a:p>
      </dsp:txBody>
      <dsp:txXfrm>
        <a:off x="1556136" y="96542"/>
        <a:ext cx="5680889" cy="3071118"/>
      </dsp:txXfrm>
    </dsp:sp>
    <dsp:sp modelId="{824B13EF-9C5F-4015-828C-93A4E2A5947D}">
      <dsp:nvSpPr>
        <dsp:cNvPr id="0" name=""/>
        <dsp:cNvSpPr/>
      </dsp:nvSpPr>
      <dsp:spPr>
        <a:xfrm rot="5390679">
          <a:off x="3963452" y="3484706"/>
          <a:ext cx="1224081" cy="1467995"/>
        </a:xfrm>
        <a:prstGeom prst="rightArrow">
          <a:avLst>
            <a:gd name="adj1" fmla="val 60000"/>
            <a:gd name="adj2" fmla="val 50000"/>
          </a:avLst>
        </a:prstGeom>
        <a:solidFill>
          <a:schemeClr val="bg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900" kern="1200"/>
        </a:p>
      </dsp:txBody>
      <dsp:txXfrm rot="-5400000">
        <a:off x="4134596" y="3606664"/>
        <a:ext cx="880797" cy="856857"/>
      </dsp:txXfrm>
    </dsp:sp>
    <dsp:sp modelId="{19B11579-7EB9-4A63-B897-6BF602034F30}">
      <dsp:nvSpPr>
        <dsp:cNvPr id="0" name=""/>
        <dsp:cNvSpPr/>
      </dsp:nvSpPr>
      <dsp:spPr>
        <a:xfrm>
          <a:off x="1473860" y="4895311"/>
          <a:ext cx="5871983" cy="32622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kern="1200" dirty="0"/>
            <a:t> Проблема отслеживания уникальных посетителей и учёта времени их нахождения в них.</a:t>
          </a:r>
        </a:p>
      </dsp:txBody>
      <dsp:txXfrm>
        <a:off x="1569407" y="4990858"/>
        <a:ext cx="5680889" cy="30711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EE964A-FB44-4E56-8CE2-681FA5B86C53}">
      <dsp:nvSpPr>
        <dsp:cNvPr id="0" name=""/>
        <dsp:cNvSpPr/>
      </dsp:nvSpPr>
      <dsp:spPr>
        <a:xfrm>
          <a:off x="1677476" y="922"/>
          <a:ext cx="5438208" cy="302122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В нашем ПО будет генерировать </a:t>
          </a:r>
          <a:r>
            <a:rPr lang="en-US" sz="2300" kern="1200" dirty="0"/>
            <a:t>QR</a:t>
          </a:r>
          <a:r>
            <a:rPr lang="ru-RU" sz="2300" kern="1200" dirty="0"/>
            <a:t>-код, который и будет таким пропуском. Считывать его будут системы установленные на входе в центры.</a:t>
          </a:r>
        </a:p>
      </dsp:txBody>
      <dsp:txXfrm>
        <a:off x="1765965" y="89411"/>
        <a:ext cx="5261230" cy="2844249"/>
      </dsp:txXfrm>
    </dsp:sp>
    <dsp:sp modelId="{5C663B3A-8A83-4B88-AA73-59A703DC822D}">
      <dsp:nvSpPr>
        <dsp:cNvPr id="0" name=""/>
        <dsp:cNvSpPr/>
      </dsp:nvSpPr>
      <dsp:spPr>
        <a:xfrm rot="5400000">
          <a:off x="3805810" y="3057926"/>
          <a:ext cx="1132960" cy="1359552"/>
        </a:xfrm>
        <a:prstGeom prst="rightArrow">
          <a:avLst>
            <a:gd name="adj1" fmla="val 60000"/>
            <a:gd name="adj2" fmla="val 50000"/>
          </a:avLst>
        </a:prstGeom>
        <a:solidFill>
          <a:srgbClr val="F1F7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 dirty="0"/>
        </a:p>
      </dsp:txBody>
      <dsp:txXfrm rot="-5400000">
        <a:off x="3964424" y="3171222"/>
        <a:ext cx="815732" cy="793072"/>
      </dsp:txXfrm>
    </dsp:sp>
    <dsp:sp modelId="{1B81DE09-F6FE-4F39-8F3A-C01344A034A9}">
      <dsp:nvSpPr>
        <dsp:cNvPr id="0" name=""/>
        <dsp:cNvSpPr/>
      </dsp:nvSpPr>
      <dsp:spPr>
        <a:xfrm>
          <a:off x="1677476" y="4532762"/>
          <a:ext cx="5438208" cy="302122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Также будет возможность отметиться на занятии.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Все записи будут зафиксированы в  приложении.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/>
            <a:t>Также при выходе посетители будут сканировать </a:t>
          </a:r>
          <a:r>
            <a:rPr lang="en-US" sz="2300" kern="1200" dirty="0"/>
            <a:t>QR-</a:t>
          </a:r>
          <a:r>
            <a:rPr lang="ru-RU" sz="2300" kern="1200" dirty="0"/>
            <a:t>код, тем самым будет зафиксировано время входа и выхода.</a:t>
          </a:r>
        </a:p>
      </dsp:txBody>
      <dsp:txXfrm>
        <a:off x="1765965" y="4621251"/>
        <a:ext cx="5261230" cy="28442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AB413C94-42A4-594D-86B4-E274EF9812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10063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D79BEEE-F173-5946-86DD-CF1217D444D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34038" y="0"/>
            <a:ext cx="4311650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348977-59D3-5A45-B2D7-E0BA5D0A09D6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D2E6FCC-B524-A449-A2D2-214D5345DB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73825"/>
            <a:ext cx="4310063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5D79E91-CE8F-2A4D-A0FC-8301BF565F4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34038" y="6473825"/>
            <a:ext cx="431165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7566FF-C339-3A45-9823-04AE7381AE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01672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4310695" cy="34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5634224" y="0"/>
            <a:ext cx="4310695" cy="34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2930525" y="852488"/>
            <a:ext cx="4086225" cy="23002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994414" y="3279451"/>
            <a:ext cx="7958448" cy="2683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6473808"/>
            <a:ext cx="4310695" cy="341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5634224" y="6473808"/>
            <a:ext cx="4310695" cy="341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9E6FB5-F890-304F-A36B-54AA81FB8B0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84520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E1883C-CCF7-46E7-BBED-6C032733D9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8900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E1883C-CCF7-46E7-BBED-6C032733D9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3916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7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3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1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microsoft.com/office/2007/relationships/hdphoto" Target="../media/hdphoto4.wdp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microsoft.com/office/2007/relationships/hdphoto" Target="../media/hdphoto5.wdp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microsoft.com/office/2007/relationships/hdphoto" Target="../media/hdphoto6.wdp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7.png"/><Relationship Id="rId7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4C8E9D7-5C17-064C-9209-F5724DF9AC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912" r="6517" b="8319"/>
          <a:stretch/>
        </p:blipFill>
        <p:spPr>
          <a:xfrm>
            <a:off x="0" y="0"/>
            <a:ext cx="20228511" cy="11315700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F978BCB-C06E-C042-BB0B-0BA1BBBECB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2976" y="3574472"/>
            <a:ext cx="7400004" cy="317178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537C775D-28D4-7A46-807A-3C52090160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2976" y="6998407"/>
            <a:ext cx="7400004" cy="27320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6F2E1DA8-13C6-6042-8365-C6074CB127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5200" y="10374313"/>
            <a:ext cx="3678238" cy="5318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rgbClr val="20D7C0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означение версионности документ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5B1F976-7723-DE44-8A75-BD8CE829A4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1538" y="725488"/>
            <a:ext cx="5432746" cy="197554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86F8094-5B3F-EE4E-A069-6B261E14972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506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75">
          <p15:clr>
            <a:srgbClr val="FBAE40"/>
          </p15:clr>
        </p15:guide>
        <p15:guide id="3" orient="horz" pos="6535">
          <p15:clr>
            <a:srgbClr val="FBAE40"/>
          </p15:clr>
        </p15:guide>
        <p15:guide id="4" orient="horz" pos="45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2619" y="2621"/>
          <a:ext cx="2617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1"/>
                        <a:ext cx="2617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335068" cy="113157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309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086356" y="1089660"/>
            <a:ext cx="7059994" cy="901065"/>
          </a:xfrm>
          <a:prstGeom prst="rect">
            <a:avLst/>
          </a:prstGeom>
        </p:spPr>
        <p:txBody>
          <a:bodyPr lIns="0" tIns="0" rIns="0" bIns="0"/>
          <a:lstStyle>
            <a:lvl1pPr>
              <a:defRPr sz="6596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2149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2619" y="2621"/>
          <a:ext cx="2617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9" y="2621"/>
                        <a:ext cx="2617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9769032" y="0"/>
            <a:ext cx="335068" cy="113157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309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11955135" y="1089660"/>
            <a:ext cx="7059994" cy="297561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6596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87068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379BA0-411E-A65B-876A-7611F71E37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013" y="1851899"/>
            <a:ext cx="15078075" cy="3939540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7E0D2E3-37C1-D763-45E1-5611DCB124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3013" y="5943363"/>
            <a:ext cx="15078075" cy="2732007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A40A64-28A0-00A1-D917-2A896022B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1DA8E28-A781-8F75-66B2-59F3125B8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F558D9E-7590-D7A8-4C58-D3A2D81C1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75114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CBC5857-7A11-A64F-969B-ED0F9B208F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12" y="5923756"/>
            <a:ext cx="15078075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98E52E8-821C-9847-BE35-A2100A9BCE7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75391">
            <a:off x="5474785" y="-2762628"/>
            <a:ext cx="17590815" cy="16840956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0ECE03EB-3B62-9045-9BF8-D5D74EDF8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8112" y="3471862"/>
            <a:ext cx="17338675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/>
            </a:lvl1pPr>
          </a:lstStyle>
          <a:p>
            <a:r>
              <a:rPr lang="ru-RU" dirty="0"/>
              <a:t>Образец разделителя</a:t>
            </a:r>
          </a:p>
        </p:txBody>
      </p:sp>
      <p:sp>
        <p:nvSpPr>
          <p:cNvPr id="14" name="Нижний колонтитул 13">
            <a:extLst>
              <a:ext uri="{FF2B5EF4-FFF2-40B4-BE49-F238E27FC236}">
                <a16:creationId xmlns:a16="http://schemas.microsoft.com/office/drawing/2014/main" id="{6B5E0E9F-4543-7448-BBFC-18529CE6E316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888112" y="10759710"/>
            <a:ext cx="6433312" cy="395969"/>
          </a:xfrm>
          <a:prstGeom prst="rect">
            <a:avLst/>
          </a:prstGeom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15" name="Номер слайда 14">
            <a:extLst>
              <a:ext uri="{FF2B5EF4-FFF2-40B4-BE49-F238E27FC236}">
                <a16:creationId xmlns:a16="http://schemas.microsoft.com/office/drawing/2014/main" id="{84F6E991-D007-BC46-B4E1-45A71E992E31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938B5B4-D636-894E-A4BC-34D240BA9D6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8112" y="714058"/>
            <a:ext cx="3177669" cy="118238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5AAB992-4A60-D640-922B-8FE792D118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84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AFB213A-41E3-154A-98C1-317359A92FC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63346" y="-3760202"/>
            <a:ext cx="15445312" cy="14464127"/>
          </a:xfrm>
          <a:prstGeom prst="rect">
            <a:avLst/>
          </a:prstGeom>
        </p:spPr>
      </p:pic>
      <p:sp>
        <p:nvSpPr>
          <p:cNvPr id="15" name="Номер слайда 14">
            <a:extLst>
              <a:ext uri="{FF2B5EF4-FFF2-40B4-BE49-F238E27FC236}">
                <a16:creationId xmlns:a16="http://schemas.microsoft.com/office/drawing/2014/main" id="{84F6E991-D007-BC46-B4E1-45A71E992E31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AE5D23A-A48A-A54D-9B96-8821DF515B9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  <p:sp>
        <p:nvSpPr>
          <p:cNvPr id="10" name="Подзаголовок 2">
            <a:extLst>
              <a:ext uri="{FF2B5EF4-FFF2-40B4-BE49-F238E27FC236}">
                <a16:creationId xmlns:a16="http://schemas.microsoft.com/office/drawing/2014/main" id="{619E01A9-3E43-5241-8B27-5E84F94F01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6400" y="5923756"/>
            <a:ext cx="15078075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2" name="Заголовок 12">
            <a:extLst>
              <a:ext uri="{FF2B5EF4-FFF2-40B4-BE49-F238E27FC236}">
                <a16:creationId xmlns:a16="http://schemas.microsoft.com/office/drawing/2014/main" id="{32B77989-13B4-0345-B00E-3374CF978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6400" y="3471862"/>
            <a:ext cx="17338675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/>
            </a:lvl1pPr>
          </a:lstStyle>
          <a:p>
            <a:r>
              <a:rPr lang="ru-RU" dirty="0"/>
              <a:t>Образец разделителя</a:t>
            </a:r>
          </a:p>
        </p:txBody>
      </p:sp>
      <p:sp>
        <p:nvSpPr>
          <p:cNvPr id="16" name="Нижний колонтитул 13">
            <a:extLst>
              <a:ext uri="{FF2B5EF4-FFF2-40B4-BE49-F238E27FC236}">
                <a16:creationId xmlns:a16="http://schemas.microsoft.com/office/drawing/2014/main" id="{D15AFD3C-1B44-9C4A-81E5-17FBA6759FB3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906400" y="10759710"/>
            <a:ext cx="6433312" cy="395969"/>
          </a:xfrm>
          <a:prstGeom prst="rect">
            <a:avLst/>
          </a:prstGeom>
        </p:spPr>
        <p:txBody>
          <a:bodyPr lIns="0" tIns="0" rIns="0" bIns="0"/>
          <a:lstStyle/>
          <a:p>
            <a:endParaRPr lang="ru-RU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BE9342B2-9B05-4142-AF50-13B59E7D438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6400" y="714058"/>
            <a:ext cx="3177669" cy="1182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414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дзаголовок 2">
            <a:extLst>
              <a:ext uri="{FF2B5EF4-FFF2-40B4-BE49-F238E27FC236}">
                <a16:creationId xmlns:a16="http://schemas.microsoft.com/office/drawing/2014/main" id="{B31CB517-791B-C349-A525-6168E81257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1613" y="5923756"/>
            <a:ext cx="8769552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5" name="Заголовок 12">
            <a:extLst>
              <a:ext uri="{FF2B5EF4-FFF2-40B4-BE49-F238E27FC236}">
                <a16:creationId xmlns:a16="http://schemas.microsoft.com/office/drawing/2014/main" id="{82E44724-F3C5-A44B-A4C0-0BB8A2BF8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1613" y="3471862"/>
            <a:ext cx="8769552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разделителя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0F0A868-8108-1A42-8EDA-CE2F4F7665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97805" y="-1758684"/>
            <a:ext cx="15018686" cy="15364879"/>
          </a:xfrm>
          <a:prstGeom prst="rect">
            <a:avLst/>
          </a:prstGeom>
        </p:spPr>
      </p:pic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9417760D-21B9-594E-B863-A32ABBFF6424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941613" y="10759711"/>
            <a:ext cx="643331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83E484AA-C2CB-E744-84A0-63E84E4BDBE9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5DED0A0F-6A06-D645-BB7B-B3C096E8F3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2976" y="756372"/>
            <a:ext cx="3049855" cy="110903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9B7880E-B510-F140-B243-89F0042ED8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77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3" orient="horz" pos="6535">
          <p15:clr>
            <a:srgbClr val="FBAE40"/>
          </p15:clr>
        </p15:guide>
        <p15:guide id="4" orient="horz" pos="45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67D9F912-A1AB-8847-86EE-DFA3A3467A70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A253B6D-528B-4C4E-BB42-F73F086058A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2976" y="756372"/>
            <a:ext cx="3049855" cy="110903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310865D-6844-4147-9F05-E1231503B7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0B82EC68-AEA6-0A43-90FB-56ED8864A6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1613" y="5923756"/>
            <a:ext cx="8769552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2" name="Заголовок 12">
            <a:extLst>
              <a:ext uri="{FF2B5EF4-FFF2-40B4-BE49-F238E27FC236}">
                <a16:creationId xmlns:a16="http://schemas.microsoft.com/office/drawing/2014/main" id="{97EF1A79-3395-9247-9514-6EC3C047F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1613" y="3471862"/>
            <a:ext cx="8769552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разделителя</a:t>
            </a:r>
          </a:p>
        </p:txBody>
      </p:sp>
      <p:sp>
        <p:nvSpPr>
          <p:cNvPr id="13" name="Нижний колонтитул 8">
            <a:extLst>
              <a:ext uri="{FF2B5EF4-FFF2-40B4-BE49-F238E27FC236}">
                <a16:creationId xmlns:a16="http://schemas.microsoft.com/office/drawing/2014/main" id="{E90F4487-3ACF-194B-A678-078B67C106E7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941613" y="10759711"/>
            <a:ext cx="643331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2081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3" orient="horz" pos="6535">
          <p15:clr>
            <a:srgbClr val="FBAE40"/>
          </p15:clr>
        </p15:guide>
        <p15:guide id="4" orient="horz" pos="45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13A7DC9-D1AC-874B-B45F-E5CF03ADE6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099" t="15719" r="12464" b="31481"/>
          <a:stretch/>
        </p:blipFill>
        <p:spPr>
          <a:xfrm>
            <a:off x="5163451" y="-2088439"/>
            <a:ext cx="18969642" cy="13404139"/>
          </a:xfrm>
          <a:prstGeom prst="rect">
            <a:avLst/>
          </a:prstGeom>
        </p:spPr>
      </p:pic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9682D4C5-DDB1-4847-AE76-42212B70D76D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7927BA8-6461-3E44-879B-33796ACFDC9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2976" y="756372"/>
            <a:ext cx="3049855" cy="110903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8B0058F-50F9-5041-AC23-5BB336A65B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  <p:sp>
        <p:nvSpPr>
          <p:cNvPr id="13" name="Подзаголовок 2">
            <a:extLst>
              <a:ext uri="{FF2B5EF4-FFF2-40B4-BE49-F238E27FC236}">
                <a16:creationId xmlns:a16="http://schemas.microsoft.com/office/drawing/2014/main" id="{14107C5B-D6F6-9B40-9676-C8C861D75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1613" y="5923756"/>
            <a:ext cx="8769552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6" name="Заголовок 12">
            <a:extLst>
              <a:ext uri="{FF2B5EF4-FFF2-40B4-BE49-F238E27FC236}">
                <a16:creationId xmlns:a16="http://schemas.microsoft.com/office/drawing/2014/main" id="{1BD850E2-D292-F945-A78D-8B5AA1A545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1613" y="3471862"/>
            <a:ext cx="8769552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разделителя</a:t>
            </a:r>
          </a:p>
        </p:txBody>
      </p:sp>
      <p:sp>
        <p:nvSpPr>
          <p:cNvPr id="17" name="Нижний колонтитул 8">
            <a:extLst>
              <a:ext uri="{FF2B5EF4-FFF2-40B4-BE49-F238E27FC236}">
                <a16:creationId xmlns:a16="http://schemas.microsoft.com/office/drawing/2014/main" id="{4853B91A-2247-384D-9817-78F55F4998B1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941613" y="10759711"/>
            <a:ext cx="643331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9797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3" orient="horz" pos="6535">
          <p15:clr>
            <a:srgbClr val="FBAE40"/>
          </p15:clr>
        </p15:guide>
        <p15:guide id="4" orient="horz" pos="45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379BA0-411E-A65B-876A-7611F71E37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013" y="1851899"/>
            <a:ext cx="15078075" cy="3939540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7E0D2E3-37C1-D763-45E1-5611DCB124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3013" y="5943363"/>
            <a:ext cx="15078075" cy="2732007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A40A64-28A0-00A1-D917-2A896022B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1DA8E28-A781-8F75-66B2-59F3125B8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F558D9E-7590-D7A8-4C58-D3A2D81C1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4386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2ED183-9AEB-04E1-1030-33EF54C1D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E7279B3-8393-6458-8BB7-7ADA4E5B68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C40523-4510-EF74-45EE-D22BB79AC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8CB625F-5079-C90D-D8DF-CB7B60491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8AA83B6-A404-5936-CC80-EC9668C5D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3395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9689338-717F-E34D-AF5C-7B3C59723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88226" y="566928"/>
            <a:ext cx="10849819" cy="11651674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F978BCB-C06E-C042-BB0B-0BA1BBBECB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12" y="3574472"/>
            <a:ext cx="7400004" cy="317178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537C775D-28D4-7A46-807A-3C52090160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12" y="7242047"/>
            <a:ext cx="7400004" cy="248844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6F2E1DA8-13C6-6042-8365-C6074CB127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336" y="10374313"/>
            <a:ext cx="3678238" cy="5318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rgbClr val="20D7C0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означение версионности документ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AAFB9D2-E37D-5C45-938E-F6E2AF1FAA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2976" y="740509"/>
            <a:ext cx="5432746" cy="197554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520F069-FF96-6243-A457-E2DD79A146A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725488"/>
            <a:ext cx="6407295" cy="564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176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75" userDrawn="1">
          <p15:clr>
            <a:srgbClr val="FBAE40"/>
          </p15:clr>
        </p15:guide>
        <p15:guide id="3" orient="horz" pos="6535" userDrawn="1">
          <p15:clr>
            <a:srgbClr val="FBAE40"/>
          </p15:clr>
        </p15:guide>
        <p15:guide id="4" orient="horz" pos="45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4C1A509-87DC-767E-1832-C7CC363AA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86" y="2821069"/>
            <a:ext cx="17339786" cy="4707016"/>
          </a:xfrm>
        </p:spPr>
        <p:txBody>
          <a:bodyPr anchor="b"/>
          <a:lstStyle>
            <a:lvl1pPr>
              <a:defRPr sz="989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51884C6-3013-2458-0D68-A790216584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1686" y="7572615"/>
            <a:ext cx="17339786" cy="2475309"/>
          </a:xfrm>
        </p:spPr>
        <p:txBody>
          <a:bodyPr/>
          <a:lstStyle>
            <a:lvl1pPr marL="0" indent="0">
              <a:buNone/>
              <a:defRPr sz="3958">
                <a:solidFill>
                  <a:schemeClr val="tx1">
                    <a:tint val="75000"/>
                  </a:schemeClr>
                </a:solidFill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003E16-5D83-7B39-5E7A-9F01AC18D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C7CCE9B-95D8-9316-C686-67A20911F8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AC337C9-1926-3AED-110C-23634C246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8386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C82984E-EC5B-9060-A2BD-594795B09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B929E23-65B3-BB1A-8057-C43A937AF8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382157" y="3012281"/>
            <a:ext cx="8544243" cy="717970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FBCA964-7517-C44F-4089-D73C8C9A48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177700" y="3012281"/>
            <a:ext cx="8544243" cy="717970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1D9D7B3-96A9-1F31-FFD0-CED4EDBF80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248DED3-81A7-C95A-C099-288A4C2E9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BEE3D20-8724-FA65-EF34-BC2B1AD60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68854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5074E-293E-3A76-CAC2-6C5894148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776" y="602457"/>
            <a:ext cx="17339786" cy="218717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C44E037-C4FA-D65F-DD15-3EB27E8E36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84776" y="2773919"/>
            <a:ext cx="8504976" cy="1359455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1D5DBB3-1C4A-34AF-0037-C7D147D169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384776" y="4133374"/>
            <a:ext cx="8504976" cy="60795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81D213FB-DBAC-11C6-C232-49F21D795C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0177701" y="2773919"/>
            <a:ext cx="8546861" cy="1359455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3A6A2461-D4A7-7991-4932-4BC08454C0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0177701" y="4133374"/>
            <a:ext cx="8546861" cy="60795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4503503A-4F0A-0B84-8B95-C5532231AA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72E2AA5-B04B-511D-3F64-47B0E937A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E3BCC1A9-C078-D857-B6FC-D2BE7A492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91714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44877D4-61ED-5225-4B61-2CBCB01D3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D96CAC9-68A8-6AA1-1060-7FB102AFC4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9B4FA76-A58E-6266-E50F-6EE6783FD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54F895F-D327-014B-C3DF-00E769390F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57305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AB5F5DA4-954D-7489-7260-247E226179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48D1EA36-18D0-FCE9-0CEB-63DC27AEE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8138B87-3BE8-E11A-4CA5-32AB35B129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11351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B872561-52A2-5966-54B8-EEDDAEB38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776" y="754380"/>
            <a:ext cx="6484095" cy="2640330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20A797C-423C-AC6B-D4D5-A9A8E00A21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46861" y="1629252"/>
            <a:ext cx="10177701" cy="8041481"/>
          </a:xfrm>
        </p:spPr>
        <p:txBody>
          <a:bodyPr/>
          <a:lstStyle>
            <a:lvl1pPr>
              <a:defRPr sz="5277"/>
            </a:lvl1pPr>
            <a:lvl2pPr>
              <a:defRPr sz="4617"/>
            </a:lvl2pPr>
            <a:lvl3pPr>
              <a:defRPr sz="3958"/>
            </a:lvl3pPr>
            <a:lvl4pPr>
              <a:defRPr sz="3298"/>
            </a:lvl4pPr>
            <a:lvl5pPr>
              <a:defRPr sz="3298"/>
            </a:lvl5pPr>
            <a:lvl6pPr>
              <a:defRPr sz="3298"/>
            </a:lvl6pPr>
            <a:lvl7pPr>
              <a:defRPr sz="3298"/>
            </a:lvl7pPr>
            <a:lvl8pPr>
              <a:defRPr sz="3298"/>
            </a:lvl8pPr>
            <a:lvl9pPr>
              <a:defRPr sz="329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2BE570D-2BFC-B862-DCD3-1F1B707F33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84776" y="3394710"/>
            <a:ext cx="6484095" cy="6289120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C8C0C96-5EA3-6E15-1B27-D07890188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18A6578-8C97-AD3E-6C9F-9C52222A9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218E633-B5FC-2FB9-CCBB-E727CBD45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2084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46DECCB-440D-BA77-A255-47BA24D55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776" y="754380"/>
            <a:ext cx="6484095" cy="2640330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01D359C9-E73A-60DA-395D-0BA533E81B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8546861" y="1629252"/>
            <a:ext cx="10177701" cy="8041481"/>
          </a:xfrm>
        </p:spPr>
        <p:txBody>
          <a:bodyPr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7F5D950-A285-52A7-3A70-B9D48FD5FD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84776" y="3394710"/>
            <a:ext cx="6484095" cy="6289120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FE07823-E262-66FD-5E7C-73C230125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C19CEFE-2C72-7E64-ED66-D17D5B3318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D100F73-52A0-70AA-D241-932B26639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92140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2BACE5-BB05-C3A5-DD41-1733373E7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BADC787-2CB8-7D05-7248-858F71956C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13BAE0B-13F0-64F1-931E-30D572758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9F82812-101B-7090-50AB-7588FBD06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C966155-AA2C-8FF1-D604-9C0D5E236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13249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9FB54F11-0A84-1BDD-F8B1-4A6AB34072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4386996" y="602456"/>
            <a:ext cx="4334947" cy="958953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0E85FF9-1A4D-2103-8E70-27524A4F11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382157" y="602456"/>
            <a:ext cx="12753538" cy="958953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9F23D07-ACD4-B405-AC0F-BCC390067E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5CD1D5B-DEBA-3AA4-215A-3DDE741900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1AA6B24-E5D5-0134-836C-502AE8CBB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63E1C1-A028-4D4E-A8C8-9214D2A1B6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71556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4"/>
            <a:ext cx="5977223" cy="526730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6"/>
            <a:ext cx="1914137" cy="712237"/>
          </a:xfrm>
          <a:prstGeom prst="rect">
            <a:avLst/>
          </a:prstGeom>
        </p:spPr>
      </p:pic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D319601B-829B-944B-A30C-5C66C7935A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7" y="10759712"/>
            <a:ext cx="4623943" cy="395969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78A6FFAD-A3FA-204C-A726-FBFF510DBA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8" y="1813822"/>
            <a:ext cx="8793163" cy="911090"/>
          </a:xfrm>
          <a:prstGeom prst="rect">
            <a:avLst/>
          </a:prstGeom>
        </p:spPr>
        <p:txBody>
          <a:bodyPr lIns="0" tIns="0" rIns="0" bIns="0"/>
          <a:lstStyle>
            <a:lvl1pPr marL="15867" indent="0">
              <a:buNone/>
              <a:tabLst/>
              <a:defRPr sz="2798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224C223-40FD-5A46-A164-CA3F51484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91" y="515377"/>
            <a:ext cx="9741216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27085AA4-F0C5-CF47-8DD5-AB6FF63C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399"/>
            <a:ext cx="8793163" cy="7554913"/>
          </a:xfrm>
          <a:prstGeom prst="rect">
            <a:avLst/>
          </a:prstGeom>
        </p:spPr>
        <p:txBody>
          <a:bodyPr lIns="0" tIns="0" rIns="0" bIns="0"/>
          <a:lstStyle>
            <a:lvl1pPr marL="15867" indent="0">
              <a:buNone/>
              <a:tabLst/>
              <a:defRPr sz="1999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17" name="Текст 8">
            <a:extLst>
              <a:ext uri="{FF2B5EF4-FFF2-40B4-BE49-F238E27FC236}">
                <a16:creationId xmlns:a16="http://schemas.microsoft.com/office/drawing/2014/main" id="{63953D88-C688-0B48-A8A0-24BCDBD844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44366" y="2942399"/>
            <a:ext cx="8793163" cy="7554913"/>
          </a:xfrm>
          <a:prstGeom prst="rect">
            <a:avLst/>
          </a:prstGeom>
        </p:spPr>
        <p:txBody>
          <a:bodyPr lIns="0" tIns="0" rIns="0" bIns="0"/>
          <a:lstStyle>
            <a:lvl1pPr marL="15867" indent="0">
              <a:buNone/>
              <a:tabLst/>
              <a:defRPr sz="1999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18" name="Текст 8">
            <a:extLst>
              <a:ext uri="{FF2B5EF4-FFF2-40B4-BE49-F238E27FC236}">
                <a16:creationId xmlns:a16="http://schemas.microsoft.com/office/drawing/2014/main" id="{6C99F359-399D-7748-B91D-8091C1933D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95789" y="1813822"/>
            <a:ext cx="8841739" cy="911090"/>
          </a:xfrm>
          <a:prstGeom prst="rect">
            <a:avLst/>
          </a:prstGeom>
        </p:spPr>
        <p:txBody>
          <a:bodyPr lIns="0" tIns="0" rIns="0" bIns="0"/>
          <a:lstStyle>
            <a:lvl1pPr marL="15867" indent="0">
              <a:buNone/>
              <a:tabLst/>
              <a:defRPr sz="2798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9155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D319601B-829B-944B-A30C-5C66C7935A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6" y="10759710"/>
            <a:ext cx="4623943" cy="395969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78A6FFAD-A3FA-204C-A726-FBFF510DBA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9" y="1813822"/>
            <a:ext cx="8793162" cy="91109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224C223-40FD-5A46-A164-CA3F51484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27085AA4-F0C5-CF47-8DD5-AB6FF63C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17" name="Текст 8">
            <a:extLst>
              <a:ext uri="{FF2B5EF4-FFF2-40B4-BE49-F238E27FC236}">
                <a16:creationId xmlns:a16="http://schemas.microsoft.com/office/drawing/2014/main" id="{63953D88-C688-0B48-A8A0-24BCDBD844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44366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18" name="Текст 8">
            <a:extLst>
              <a:ext uri="{FF2B5EF4-FFF2-40B4-BE49-F238E27FC236}">
                <a16:creationId xmlns:a16="http://schemas.microsoft.com/office/drawing/2014/main" id="{6C99F359-399D-7748-B91D-8091C1933D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95788" y="1813822"/>
            <a:ext cx="8841739" cy="91109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2740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4"/>
            <a:ext cx="5977223" cy="526730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6"/>
            <a:ext cx="1914137" cy="712237"/>
          </a:xfrm>
          <a:prstGeom prst="rect">
            <a:avLst/>
          </a:prstGeom>
        </p:spPr>
      </p:pic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D319601B-829B-944B-A30C-5C66C7935A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7" y="10759712"/>
            <a:ext cx="4623943" cy="395969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78A6FFAD-A3FA-204C-A726-FBFF510DBA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91" y="1728887"/>
            <a:ext cx="9741216" cy="911090"/>
          </a:xfrm>
          <a:prstGeom prst="rect">
            <a:avLst/>
          </a:prstGeom>
        </p:spPr>
        <p:txBody>
          <a:bodyPr lIns="0" tIns="0" rIns="0" bIns="0"/>
          <a:lstStyle>
            <a:lvl1pPr marL="15867" indent="0">
              <a:buNone/>
              <a:tabLst/>
              <a:defRPr sz="2798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224C223-40FD-5A46-A164-CA3F51484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91" y="515377"/>
            <a:ext cx="9741216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27085AA4-F0C5-CF47-8DD5-AB6FF63C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399"/>
            <a:ext cx="18424652" cy="7554913"/>
          </a:xfrm>
          <a:prstGeom prst="rect">
            <a:avLst/>
          </a:prstGeom>
        </p:spPr>
        <p:txBody>
          <a:bodyPr lIns="0" tIns="0" rIns="0" bIns="0"/>
          <a:lstStyle>
            <a:lvl1pPr marL="15867" indent="0">
              <a:buNone/>
              <a:tabLst/>
              <a:defRPr sz="1999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93135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D319601B-829B-944B-A30C-5C66C7935A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6" y="10759710"/>
            <a:ext cx="4623943" cy="395969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78A6FFAD-A3FA-204C-A726-FBFF510DBA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9" y="1728887"/>
            <a:ext cx="9741216" cy="91109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224C223-40FD-5A46-A164-CA3F51484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27085AA4-F0C5-CF47-8DD5-AB6FF63C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400"/>
            <a:ext cx="1842465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1630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D319601B-829B-944B-A30C-5C66C7935A3F}"/>
              </a:ext>
            </a:extLst>
          </p:cNvPr>
          <p:cNvSpPr>
            <a:spLocks noGrp="1"/>
          </p:cNvSpPr>
          <p:nvPr>
            <p:ph type="sldNum" idx="15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78A6FFAD-A3FA-204C-A726-FBFF510DBA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107925" y="3344736"/>
            <a:ext cx="8211315" cy="911089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224C223-40FD-5A46-A164-CA3F51484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07925" y="2271023"/>
            <a:ext cx="8211315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27085AA4-F0C5-CF47-8DD5-AB6FF63C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07925" y="4483209"/>
            <a:ext cx="8211315" cy="5707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2C0A17A-4977-714A-AE03-EAB92E295D8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0202755" cy="113157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ка </a:t>
            </a:r>
          </a:p>
          <a:p>
            <a:r>
              <a:rPr lang="ru-RU" dirty="0"/>
              <a:t>для изображения</a:t>
            </a:r>
          </a:p>
        </p:txBody>
      </p:sp>
    </p:spTree>
    <p:extLst>
      <p:ext uri="{BB962C8B-B14F-4D97-AF65-F5344CB8AC3E}">
        <p14:creationId xmlns:p14="http://schemas.microsoft.com/office/powerpoint/2010/main" val="28464990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DA75F75-9213-8C44-8789-C54758088D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8000"/>
          </a:blip>
          <a:stretch>
            <a:fillRect/>
          </a:stretch>
        </p:blipFill>
        <p:spPr>
          <a:xfrm>
            <a:off x="8650225" y="-2453964"/>
            <a:ext cx="14708920" cy="13769664"/>
          </a:xfrm>
          <a:prstGeom prst="rect">
            <a:avLst/>
          </a:prstGeom>
        </p:spPr>
      </p:pic>
      <p:sp>
        <p:nvSpPr>
          <p:cNvPr id="7" name="Текст 8">
            <a:extLst>
              <a:ext uri="{FF2B5EF4-FFF2-40B4-BE49-F238E27FC236}">
                <a16:creationId xmlns:a16="http://schemas.microsoft.com/office/drawing/2014/main" id="{125488A5-A119-6D44-AA6D-814F52A7D1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8" y="1589088"/>
            <a:ext cx="9741217" cy="1135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0E3CFD-2282-1543-A38F-FAD8987C8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sp>
        <p:nvSpPr>
          <p:cNvPr id="12" name="Текст 8">
            <a:extLst>
              <a:ext uri="{FF2B5EF4-FFF2-40B4-BE49-F238E27FC236}">
                <a16:creationId xmlns:a16="http://schemas.microsoft.com/office/drawing/2014/main" id="{FBF59AFA-C127-D745-B4E6-9CCAC856C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7" y="2942400"/>
            <a:ext cx="18432491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D80EDFB-818F-1445-A0BB-4BBC6EC8F5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6" y="10759710"/>
            <a:ext cx="4623943" cy="395969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6815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DA75F75-9213-8C44-8789-C54758088D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8000"/>
          </a:blip>
          <a:stretch>
            <a:fillRect/>
          </a:stretch>
        </p:blipFill>
        <p:spPr>
          <a:xfrm rot="10800000">
            <a:off x="-2925208" y="4296696"/>
            <a:ext cx="10473262" cy="9804479"/>
          </a:xfrm>
          <a:prstGeom prst="rect">
            <a:avLst/>
          </a:prstGeom>
        </p:spPr>
      </p:pic>
      <p:sp>
        <p:nvSpPr>
          <p:cNvPr id="7" name="Текст 8">
            <a:extLst>
              <a:ext uri="{FF2B5EF4-FFF2-40B4-BE49-F238E27FC236}">
                <a16:creationId xmlns:a16="http://schemas.microsoft.com/office/drawing/2014/main" id="{125488A5-A119-6D44-AA6D-814F52A7D1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8" y="1589088"/>
            <a:ext cx="9741217" cy="1135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0E3CFD-2282-1543-A38F-FAD8987C8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sp>
        <p:nvSpPr>
          <p:cNvPr id="12" name="Текст 8">
            <a:extLst>
              <a:ext uri="{FF2B5EF4-FFF2-40B4-BE49-F238E27FC236}">
                <a16:creationId xmlns:a16="http://schemas.microsoft.com/office/drawing/2014/main" id="{FBF59AFA-C127-D745-B4E6-9CCAC856C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D80EDFB-818F-1445-A0BB-4BBC6EC8F5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6" y="10759710"/>
            <a:ext cx="4623943" cy="395969"/>
          </a:xfr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54C84263-40A1-BE42-A9FA-C5F2407C32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44366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5311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1136F7E-B10E-EE45-8749-D16CB7E7FD8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27138" y="225635"/>
            <a:ext cx="16355822" cy="15633027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621C6B0-AE45-0443-A71F-C1E57AB9ECBD}"/>
              </a:ext>
            </a:extLst>
          </p:cNvPr>
          <p:cNvSpPr>
            <a:spLocks noGrp="1"/>
          </p:cNvSpPr>
          <p:nvPr>
            <p:ph type="sldNum" idx="14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181337A2-E420-674B-AF07-C5DC2BA12A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8" y="1589088"/>
            <a:ext cx="9741217" cy="1135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E0D160D-A8F2-9746-82B2-DF760B979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25F09C31-925C-7C42-B025-EE46AF70A0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A89293F9-473B-7A44-AD01-FABB3438F7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44366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105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1136F7E-B10E-EE45-8749-D16CB7E7FD8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27138" y="225635"/>
            <a:ext cx="16355822" cy="15633027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621C6B0-AE45-0443-A71F-C1E57AB9ECBD}"/>
              </a:ext>
            </a:extLst>
          </p:cNvPr>
          <p:cNvSpPr>
            <a:spLocks noGrp="1"/>
          </p:cNvSpPr>
          <p:nvPr>
            <p:ph type="sldNum" idx="14"/>
          </p:nvPr>
        </p:nvSpPr>
        <p:spPr/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181337A2-E420-674B-AF07-C5DC2BA12A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8" y="1589088"/>
            <a:ext cx="9741217" cy="1135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E0D160D-A8F2-9746-82B2-DF760B979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25F09C31-925C-7C42-B025-EE46AF70A0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4588" y="7261819"/>
            <a:ext cx="4134612" cy="210312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11A7303-58E2-D643-8654-4CE3CDD6A66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95350" y="3949700"/>
            <a:ext cx="2139950" cy="2141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1" name="Текст 8">
            <a:extLst>
              <a:ext uri="{FF2B5EF4-FFF2-40B4-BE49-F238E27FC236}">
                <a16:creationId xmlns:a16="http://schemas.microsoft.com/office/drawing/2014/main" id="{F4ACFC93-6EE1-0545-AB5D-2AA612F3EF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4588" y="6621739"/>
            <a:ext cx="4134612" cy="438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 b="1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5" name="Текст 8">
            <a:extLst>
              <a:ext uri="{FF2B5EF4-FFF2-40B4-BE49-F238E27FC236}">
                <a16:creationId xmlns:a16="http://schemas.microsoft.com/office/drawing/2014/main" id="{FAAF74B4-50BB-4C47-AE2D-5CFD66553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44134" y="7261819"/>
            <a:ext cx="4134612" cy="210312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6" name="Рисунок 2">
            <a:extLst>
              <a:ext uri="{FF2B5EF4-FFF2-40B4-BE49-F238E27FC236}">
                <a16:creationId xmlns:a16="http://schemas.microsoft.com/office/drawing/2014/main" id="{74135ABC-39DF-C84C-9E74-CD31114C4C7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644896" y="3949700"/>
            <a:ext cx="2139950" cy="2141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7" name="Текст 8">
            <a:extLst>
              <a:ext uri="{FF2B5EF4-FFF2-40B4-BE49-F238E27FC236}">
                <a16:creationId xmlns:a16="http://schemas.microsoft.com/office/drawing/2014/main" id="{49455812-9A6F-1A42-AC06-36E3D8CA32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44134" y="6621739"/>
            <a:ext cx="4134612" cy="438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 b="1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8" name="Текст 8">
            <a:extLst>
              <a:ext uri="{FF2B5EF4-FFF2-40B4-BE49-F238E27FC236}">
                <a16:creationId xmlns:a16="http://schemas.microsoft.com/office/drawing/2014/main" id="{57C0AD6E-F1D7-A149-A0FC-DAF36E1FDE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93680" y="7261819"/>
            <a:ext cx="4134612" cy="210312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9" name="Рисунок 2">
            <a:extLst>
              <a:ext uri="{FF2B5EF4-FFF2-40B4-BE49-F238E27FC236}">
                <a16:creationId xmlns:a16="http://schemas.microsoft.com/office/drawing/2014/main" id="{EB2CE1F9-D25E-5543-8864-3A9687FC35C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394442" y="3949700"/>
            <a:ext cx="2139950" cy="2141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40" name="Текст 8">
            <a:extLst>
              <a:ext uri="{FF2B5EF4-FFF2-40B4-BE49-F238E27FC236}">
                <a16:creationId xmlns:a16="http://schemas.microsoft.com/office/drawing/2014/main" id="{EA195AAF-3E42-0347-9095-DF2A73CA79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93680" y="6621739"/>
            <a:ext cx="4134612" cy="438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 b="1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41" name="Текст 8">
            <a:extLst>
              <a:ext uri="{FF2B5EF4-FFF2-40B4-BE49-F238E27FC236}">
                <a16:creationId xmlns:a16="http://schemas.microsoft.com/office/drawing/2014/main" id="{A8701132-B8B8-DE40-81BE-06BA5765DE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3226" y="7261819"/>
            <a:ext cx="4134612" cy="210312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42" name="Рисунок 2">
            <a:extLst>
              <a:ext uri="{FF2B5EF4-FFF2-40B4-BE49-F238E27FC236}">
                <a16:creationId xmlns:a16="http://schemas.microsoft.com/office/drawing/2014/main" id="{7E432881-2541-8845-BCC6-E44649FE266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5143988" y="3949700"/>
            <a:ext cx="2139950" cy="2141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43" name="Текст 8">
            <a:extLst>
              <a:ext uri="{FF2B5EF4-FFF2-40B4-BE49-F238E27FC236}">
                <a16:creationId xmlns:a16="http://schemas.microsoft.com/office/drawing/2014/main" id="{F74A8EF0-3118-354B-A16C-3B709AC281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143226" y="6621739"/>
            <a:ext cx="4134612" cy="438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 b="1"/>
            </a:lvl1pPr>
          </a:lstStyle>
          <a:p>
            <a:pPr lvl="0"/>
            <a:r>
              <a:rPr lang="ru-RU" dirty="0"/>
              <a:t>Описание</a:t>
            </a:r>
          </a:p>
        </p:txBody>
      </p:sp>
    </p:spTree>
    <p:extLst>
      <p:ext uri="{BB962C8B-B14F-4D97-AF65-F5344CB8AC3E}">
        <p14:creationId xmlns:p14="http://schemas.microsoft.com/office/powerpoint/2010/main" val="2083456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1EBDE21A-55B7-DD49-B2FF-E349F0F9B888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6662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56" r:id="rId2"/>
    <p:sldLayoutId id="2147483670" r:id="rId3"/>
    <p:sldLayoutId id="2147483675" r:id="rId4"/>
    <p:sldLayoutId id="2147483673" r:id="rId5"/>
    <p:sldLayoutId id="2147483671" r:id="rId6"/>
    <p:sldLayoutId id="2147483674" r:id="rId7"/>
    <p:sldLayoutId id="2147483672" r:id="rId8"/>
    <p:sldLayoutId id="2147483676" r:id="rId9"/>
    <p:sldLayoutId id="2147483677" r:id="rId10"/>
    <p:sldLayoutId id="2147483678" r:id="rId11"/>
    <p:sldLayoutId id="214748367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5F479B8B-10D3-674C-9BA6-DD782C3538CD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6734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669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B47216-A557-C48B-4C71-1A240DCE6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157" y="602457"/>
            <a:ext cx="17339786" cy="21871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C322E18-8D58-0C66-D787-DB415C9907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82157" y="3012281"/>
            <a:ext cx="17339786" cy="7179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0DDE747-9118-13EB-934F-B918F17AD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82157" y="10487978"/>
            <a:ext cx="4523423" cy="6024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AE4A8F-D894-394B-8106-7DD72FD6EB1F}" type="datetimeFigureOut">
              <a:rPr lang="ru-RU" smtClean="0"/>
              <a:t>03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205960-BE43-11EA-5C91-829BA1B3E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9483" y="10487978"/>
            <a:ext cx="6785134" cy="6024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E9CC4A4-F428-D59F-9C65-A877CAF52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998374" y="5356622"/>
            <a:ext cx="789086" cy="6024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  <a:latin typeface="ALS Sector Regular" pitchFamily="2" charset="0"/>
                <a:cs typeface="ALS Sector Regular" pitchFamily="2" charset="0"/>
              </a:defRPr>
            </a:lvl1pPr>
          </a:lstStyle>
          <a:p>
            <a:fld id="{1363E1C1-A028-4D4E-A8C8-9214D2A1B6C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3395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</p:sldLayoutIdLst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72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6961" indent="-376961" algn="l" defTabSz="1507846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+mn-lt"/>
          <a:ea typeface="+mn-ea"/>
          <a:cs typeface="+mn-cs"/>
        </a:defRPr>
      </a:lvl1pPr>
      <a:lvl2pPr marL="113088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807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730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653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0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49.emf"/><Relationship Id="rId11" Type="http://schemas.openxmlformats.org/officeDocument/2006/relationships/image" Target="../media/image54.png"/><Relationship Id="rId5" Type="http://schemas.openxmlformats.org/officeDocument/2006/relationships/image" Target="../media/image15.emf"/><Relationship Id="rId10" Type="http://schemas.openxmlformats.org/officeDocument/2006/relationships/image" Target="../media/image5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2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0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49.emf"/><Relationship Id="rId11" Type="http://schemas.openxmlformats.org/officeDocument/2006/relationships/image" Target="../media/image55.png"/><Relationship Id="rId5" Type="http://schemas.openxmlformats.org/officeDocument/2006/relationships/image" Target="../media/image15.emf"/><Relationship Id="rId10" Type="http://schemas.openxmlformats.org/officeDocument/2006/relationships/image" Target="../media/image5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vk.com/aet_erno" TargetMode="Externa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24.xml"/><Relationship Id="rId4" Type="http://schemas.openxmlformats.org/officeDocument/2006/relationships/hyperlink" Target="https://vk.com/aet_erno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../media/image36.png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3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1FBD52E-F5A3-30F2-500B-C8BBB922F14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9027" r="27946" b="10391"/>
          <a:stretch/>
        </p:blipFill>
        <p:spPr>
          <a:xfrm>
            <a:off x="8571412" y="-3009482"/>
            <a:ext cx="11396848" cy="14241288"/>
          </a:xfrm>
          <a:prstGeom prst="rect">
            <a:avLst/>
          </a:prstGeom>
        </p:spPr>
      </p:pic>
      <p:sp>
        <p:nvSpPr>
          <p:cNvPr id="8" name="Параллелограмм 7">
            <a:extLst>
              <a:ext uri="{FF2B5EF4-FFF2-40B4-BE49-F238E27FC236}">
                <a16:creationId xmlns:a16="http://schemas.microsoft.com/office/drawing/2014/main" id="{E005804D-EB41-1E7D-1243-9F7DCAE924DC}"/>
              </a:ext>
            </a:extLst>
          </p:cNvPr>
          <p:cNvSpPr/>
          <p:nvPr/>
        </p:nvSpPr>
        <p:spPr>
          <a:xfrm>
            <a:off x="-3372321" y="3572"/>
            <a:ext cx="15477202" cy="13381792"/>
          </a:xfrm>
          <a:prstGeom prst="parallelogram">
            <a:avLst/>
          </a:prstGeom>
          <a:solidFill>
            <a:srgbClr val="176D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309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45E0E9-3513-5531-CB1D-AB5ABE2ED5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5233" y="1959649"/>
            <a:ext cx="9450053" cy="3698201"/>
          </a:xfrm>
        </p:spPr>
        <p:txBody>
          <a:bodyPr anchor="ctr">
            <a:noAutofit/>
          </a:bodyPr>
          <a:lstStyle/>
          <a:p>
            <a:pPr algn="l"/>
            <a:r>
              <a:rPr lang="ru-RU" sz="6596" b="1" dirty="0">
                <a:solidFill>
                  <a:schemeClr val="bg1"/>
                </a:solidFill>
                <a:latin typeface="ALS Sector Regular" pitchFamily="2" charset="0"/>
                <a:cs typeface="ALS Sector Regular" pitchFamily="2" charset="0"/>
              </a:rPr>
              <a:t>Инновационные решения для центров московского долголетия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D6B226-5CF2-C6D3-2EA7-19321638F3AE}"/>
              </a:ext>
            </a:extLst>
          </p:cNvPr>
          <p:cNvSpPr txBox="1"/>
          <p:nvPr/>
        </p:nvSpPr>
        <p:spPr>
          <a:xfrm>
            <a:off x="10667739" y="-2073235"/>
            <a:ext cx="184731" cy="447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2309" dirty="0"/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DE897D65-ADB8-1DD7-B439-92359D75E5E2}"/>
              </a:ext>
            </a:extLst>
          </p:cNvPr>
          <p:cNvSpPr txBox="1">
            <a:spLocks/>
          </p:cNvSpPr>
          <p:nvPr/>
        </p:nvSpPr>
        <p:spPr>
          <a:xfrm>
            <a:off x="1118926" y="6165029"/>
            <a:ext cx="5353807" cy="5735728"/>
          </a:xfrm>
          <a:prstGeom prst="rect">
            <a:avLst/>
          </a:prstGeom>
        </p:spPr>
        <p:txBody>
          <a:bodyPr vert="horz" lIns="150781" tIns="75390" rIns="150781" bIns="7539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638" dirty="0">
                <a:solidFill>
                  <a:schemeClr val="bg1"/>
                </a:solidFill>
                <a:latin typeface="ALS Sector Regular" pitchFamily="2" charset="0"/>
                <a:cs typeface="ALS Sector Regular" pitchFamily="2" charset="0"/>
              </a:rPr>
              <a:t>Пропускная система с функцией отслеживания уникальных посетителей и учета времени, проведенного гражданами в локациях.</a:t>
            </a:r>
          </a:p>
          <a:p>
            <a:pPr algn="l"/>
            <a:endParaRPr lang="ru-RU" sz="2638" dirty="0">
              <a:solidFill>
                <a:schemeClr val="bg1"/>
              </a:solidFill>
              <a:latin typeface="ALS Sector Regular" pitchFamily="2" charset="0"/>
              <a:cs typeface="ALS Sector Regular" pitchFamily="2" charset="0"/>
            </a:endParaRPr>
          </a:p>
          <a:p>
            <a:pPr algn="l"/>
            <a:r>
              <a:rPr lang="ru-RU" sz="2638" dirty="0">
                <a:solidFill>
                  <a:schemeClr val="bg1"/>
                </a:solidFill>
                <a:latin typeface="ALS Sector Regular" pitchFamily="2" charset="0"/>
                <a:cs typeface="ALS Sector Regular" pitchFamily="2" charset="0"/>
              </a:rPr>
              <a:t>МЕНТОР: Смирнова Елена Валентиновна</a:t>
            </a:r>
          </a:p>
          <a:p>
            <a:pPr algn="l"/>
            <a:endParaRPr lang="ru-RU" sz="2638" dirty="0">
              <a:solidFill>
                <a:schemeClr val="bg1"/>
              </a:solidFill>
              <a:latin typeface="ALS Sector Regular" pitchFamily="2" charset="0"/>
              <a:cs typeface="ALS Sector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716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DBEA02-0FC5-6565-3DC3-F97E4493A3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686B803-D62C-BC30-D56F-9812E5753A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023" y="74567"/>
            <a:ext cx="20104100" cy="9745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7534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3B6D34-9EED-EDBE-C088-5FF017499D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EEF62FA-41F4-8FE2-B7C5-46C8503211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77176"/>
            <a:ext cx="20104100" cy="1006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4039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54631F-A1BB-44B6-A784-74EE18CA8F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733676F-BA96-32AC-2382-690C3274A7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08258"/>
            <a:ext cx="20171269" cy="8018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4368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19" y="6191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9" y="6191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1380303" y="1429197"/>
            <a:ext cx="2187503" cy="88833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 defTabSz="1507846">
              <a:buClrTx/>
              <a:defRPr/>
            </a:pPr>
            <a:r>
              <a:rPr lang="ru-RU" sz="5936" b="1" dirty="0">
                <a:solidFill>
                  <a:schemeClr val="accent1"/>
                </a:solidFill>
                <a:latin typeface="Gabriela" panose="00000500000000000000" pitchFamily="2" charset="0"/>
              </a:rPr>
              <a:t>Старт</a:t>
            </a:r>
            <a:endParaRPr lang="en-US" sz="5936" b="1" kern="1200" dirty="0">
              <a:solidFill>
                <a:schemeClr val="accent1"/>
              </a:solidFill>
              <a:latin typeface="Gabriela" panose="00000500000000000000" pitchFamily="2" charset="0"/>
              <a:ea typeface="+mn-ea"/>
              <a:cs typeface="+mn-c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2474054" y="2317533"/>
            <a:ext cx="0" cy="2445056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2165221" y="5058086"/>
            <a:ext cx="620035" cy="620035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2328387" y="5221252"/>
            <a:ext cx="293703" cy="293703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8" name="Oval 7"/>
          <p:cNvSpPr/>
          <p:nvPr/>
        </p:nvSpPr>
        <p:spPr>
          <a:xfrm>
            <a:off x="2364655" y="5257520"/>
            <a:ext cx="221170" cy="221170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2065747" y="4958612"/>
            <a:ext cx="818982" cy="818982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2984203" y="5327969"/>
            <a:ext cx="15575600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>
          <a:xfrm>
            <a:off x="6296658" y="5196028"/>
            <a:ext cx="282661" cy="282661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10290153" y="5196028"/>
            <a:ext cx="282661" cy="282661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4283648" y="5196028"/>
            <a:ext cx="282661" cy="282661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18277142" y="5196028"/>
            <a:ext cx="282661" cy="282661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39" name="TextBox 38"/>
          <p:cNvSpPr txBox="1"/>
          <p:nvPr/>
        </p:nvSpPr>
        <p:spPr>
          <a:xfrm rot="16200000">
            <a:off x="1383841" y="6817138"/>
            <a:ext cx="2180427" cy="42766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 defTabSz="1507846">
              <a:buClrTx/>
              <a:defRPr/>
            </a:pPr>
            <a:r>
              <a:rPr lang="ru-RU" sz="2474" b="1" kern="1200" dirty="0">
                <a:latin typeface="Montserrat"/>
                <a:ea typeface="+mn-ea"/>
                <a:cs typeface="+mn-cs"/>
              </a:rPr>
              <a:t>2 месяца</a:t>
            </a:r>
            <a:endParaRPr lang="en-US" sz="2474" b="1" kern="1200" dirty="0">
              <a:latin typeface="Montserrat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84204" y="5851951"/>
            <a:ext cx="2837610" cy="1221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298"/>
              </a:lnSpc>
            </a:pPr>
            <a:r>
              <a:rPr lang="ru-RU" sz="1814" dirty="0">
                <a:latin typeface="Montserrat Light" panose="00000400000000000000" pitchFamily="2" charset="-18"/>
              </a:rPr>
              <a:t>Анализ, составление требований к продукту</a:t>
            </a:r>
          </a:p>
          <a:p>
            <a:pPr>
              <a:lnSpc>
                <a:spcPts val="3298"/>
              </a:lnSpc>
            </a:pPr>
            <a:r>
              <a:rPr lang="ru-RU" sz="1814" kern="2000" dirty="0">
                <a:latin typeface="Montserrat Light" panose="00000400000000000000" pitchFamily="2" charset="-18"/>
                <a:ea typeface="+mn-ea"/>
                <a:cs typeface="+mn-cs"/>
              </a:rPr>
              <a:t>200 000руб.</a:t>
            </a:r>
            <a:endParaRPr lang="en-US" sz="1814" kern="2000" dirty="0">
              <a:latin typeface="Montserrat Light" panose="00000400000000000000" pitchFamily="2" charset="-18"/>
              <a:ea typeface="+mn-ea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 rot="16200000">
            <a:off x="5721703" y="6452889"/>
            <a:ext cx="1451926" cy="42766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 defTabSz="1507846">
              <a:buClrTx/>
              <a:defRPr/>
            </a:pPr>
            <a:r>
              <a:rPr lang="ru-RU" sz="2474" b="1" kern="1200" dirty="0">
                <a:latin typeface="Montserrat"/>
                <a:ea typeface="+mn-ea"/>
                <a:cs typeface="+mn-cs"/>
              </a:rPr>
              <a:t>1</a:t>
            </a:r>
            <a:r>
              <a:rPr lang="ru-RU" sz="2474" b="1" dirty="0">
                <a:latin typeface="Montserrat"/>
              </a:rPr>
              <a:t> месяц</a:t>
            </a:r>
            <a:endParaRPr lang="en-US" sz="2474" b="1" kern="1200" dirty="0">
              <a:latin typeface="Montserra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957816" y="5851951"/>
            <a:ext cx="2837610" cy="798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298"/>
              </a:lnSpc>
            </a:pPr>
            <a:r>
              <a:rPr lang="ru-RU" sz="1814" dirty="0">
                <a:latin typeface="Montserrat Light" panose="00000400000000000000" pitchFamily="2" charset="-18"/>
              </a:rPr>
              <a:t>Планирование</a:t>
            </a:r>
          </a:p>
          <a:p>
            <a:pPr>
              <a:lnSpc>
                <a:spcPts val="3298"/>
              </a:lnSpc>
            </a:pPr>
            <a:r>
              <a:rPr lang="ru-RU" sz="1814" kern="2000" dirty="0">
                <a:latin typeface="Montserrat Light" panose="00000400000000000000" pitchFamily="2" charset="-18"/>
                <a:ea typeface="+mn-ea"/>
                <a:cs typeface="+mn-cs"/>
              </a:rPr>
              <a:t>100 000руб.</a:t>
            </a:r>
            <a:endParaRPr lang="en-US" sz="1814" kern="2000" dirty="0">
              <a:latin typeface="Montserrat Light" panose="00000400000000000000" pitchFamily="2" charset="-18"/>
              <a:ea typeface="+mn-ea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 rot="16200000">
            <a:off x="9562397" y="6606747"/>
            <a:ext cx="1759645" cy="42766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 defTabSz="1507846">
              <a:buClrTx/>
              <a:defRPr/>
            </a:pPr>
            <a:r>
              <a:rPr lang="ru-RU" sz="2474" b="1" kern="1200" dirty="0">
                <a:latin typeface="Montserrat"/>
                <a:ea typeface="+mn-ea"/>
                <a:cs typeface="+mn-cs"/>
              </a:rPr>
              <a:t>3 месяца</a:t>
            </a:r>
            <a:endParaRPr lang="en-US" sz="2474" b="1" kern="1200" dirty="0">
              <a:latin typeface="Montserrat"/>
              <a:ea typeface="+mn-ea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0952370" y="5851951"/>
            <a:ext cx="2837610" cy="1221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298"/>
              </a:lnSpc>
            </a:pPr>
            <a:r>
              <a:rPr lang="ru-RU" sz="1814" dirty="0">
                <a:latin typeface="Montserrat Light" panose="00000400000000000000" pitchFamily="2" charset="-18"/>
              </a:rPr>
              <a:t>.Проектирование и дизайн</a:t>
            </a:r>
          </a:p>
          <a:p>
            <a:pPr>
              <a:lnSpc>
                <a:spcPts val="3298"/>
              </a:lnSpc>
            </a:pPr>
            <a:r>
              <a:rPr lang="ru-RU" sz="1814" kern="2000" dirty="0">
                <a:latin typeface="Montserrat Light" panose="00000400000000000000" pitchFamily="2" charset="-18"/>
                <a:ea typeface="+mn-ea"/>
                <a:cs typeface="+mn-cs"/>
              </a:rPr>
              <a:t>600 000руб.</a:t>
            </a:r>
            <a:endParaRPr lang="en-US" sz="1814" kern="2000" dirty="0">
              <a:latin typeface="Montserrat Light" panose="00000400000000000000" pitchFamily="2" charset="-18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 rot="16200000">
            <a:off x="13384971" y="6778726"/>
            <a:ext cx="2180421" cy="50448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 defTabSz="1507846">
              <a:buClrTx/>
              <a:defRPr/>
            </a:pPr>
            <a:r>
              <a:rPr lang="ru-RU" sz="2474" b="1" kern="1200" dirty="0">
                <a:latin typeface="Montserrat"/>
                <a:ea typeface="+mn-ea"/>
                <a:cs typeface="+mn-cs"/>
              </a:rPr>
              <a:t>8 месяцев</a:t>
            </a:r>
            <a:endParaRPr lang="en-US" sz="2474" b="1" kern="1200" dirty="0">
              <a:latin typeface="Montserrat"/>
              <a:ea typeface="+mn-ea"/>
              <a:cs typeface="+mn-cs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4946923" y="5851951"/>
            <a:ext cx="2837610" cy="798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298"/>
              </a:lnSpc>
            </a:pPr>
            <a:r>
              <a:rPr lang="ru-RU" sz="1814" dirty="0">
                <a:latin typeface="Montserrat Light" panose="00000400000000000000" pitchFamily="2" charset="-18"/>
              </a:rPr>
              <a:t>Разработка</a:t>
            </a:r>
          </a:p>
          <a:p>
            <a:pPr>
              <a:lnSpc>
                <a:spcPts val="3298"/>
              </a:lnSpc>
            </a:pPr>
            <a:r>
              <a:rPr lang="ru-RU" sz="1814" kern="2000" dirty="0">
                <a:latin typeface="Montserrat Light" panose="00000400000000000000" pitchFamily="2" charset="-18"/>
                <a:ea typeface="+mn-ea"/>
                <a:cs typeface="+mn-cs"/>
              </a:rPr>
              <a:t>4 800 000руб</a:t>
            </a:r>
            <a:endParaRPr lang="en-US" sz="1814" kern="2000" dirty="0">
              <a:latin typeface="Montserrat Light" panose="00000400000000000000" pitchFamily="2" charset="-18"/>
              <a:ea typeface="+mn-ea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 rot="16200000">
            <a:off x="17692509" y="6452889"/>
            <a:ext cx="1451926" cy="42766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 defTabSz="1507846">
              <a:buClrTx/>
              <a:defRPr/>
            </a:pPr>
            <a:r>
              <a:rPr lang="ru-RU" sz="2474" b="1" kern="1200" dirty="0">
                <a:latin typeface="Montserrat"/>
                <a:ea typeface="+mn-ea"/>
                <a:cs typeface="+mn-cs"/>
              </a:rPr>
              <a:t>1 год</a:t>
            </a:r>
            <a:endParaRPr lang="en-US" sz="2474" b="1" kern="1200" dirty="0">
              <a:latin typeface="Montserrat"/>
              <a:ea typeface="+mn-ea"/>
              <a:cs typeface="+mn-cs"/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18559802" y="5327969"/>
            <a:ext cx="1748480" cy="0"/>
          </a:xfrm>
          <a:prstGeom prst="line">
            <a:avLst/>
          </a:prstGeom>
          <a:ln>
            <a:solidFill>
              <a:srgbClr val="5D5B6F">
                <a:alpha val="27059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9745" y="3671629"/>
            <a:ext cx="1487807" cy="901266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2471" y="3629176"/>
            <a:ext cx="636241" cy="986169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87333" y="3721026"/>
            <a:ext cx="967683" cy="80246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7612" y="3669889"/>
            <a:ext cx="849670" cy="904744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CF7CCEA-7C66-B0E5-EC69-4AB4EE59D60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42455" y="124667"/>
            <a:ext cx="12650296" cy="119492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A82E9CD-2042-50CB-81EC-B40832AD697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49607" y="188681"/>
            <a:ext cx="9955631" cy="1066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15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" presetClass="entr" presetSubtype="1" fill="hold" nodeType="withEffect" p14:presetBounceEnd="46000">
                                      <p:stCondLst>
                                        <p:cond delay="26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1" fill="hold" nodeType="withEffect" p14:presetBounceEnd="46000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52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3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4" presetID="2" presetClass="entr" presetSubtype="1" fill="hold" nodeType="withEffect" p14:presetBounceEnd="46000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56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7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8" presetID="2" presetClass="entr" presetSubtype="1" fill="hold" nodeType="withEffect" p14:presetBounceEnd="46000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60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61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0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6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7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10" presetClass="entr" presetSubtype="0" fill="hold" grpId="0" nodeType="withEffect">
                                      <p:stCondLst>
                                        <p:cond delay="3900"/>
                                      </p:stCondLst>
                                      <p:childTnLs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2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10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42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9" presetID="22" presetClass="entr" presetSubtype="8" fill="hold" nodeType="withEffect">
                                      <p:stCondLst>
                                        <p:cond delay="430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1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8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7" grpId="0"/>
          <p:bldP spid="48" grpId="0"/>
          <p:bldP spid="4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6" presetID="2" presetClass="entr" presetSubtype="1" fill="hold" nodeType="withEffect">
                                      <p:stCondLst>
                                        <p:cond delay="2600"/>
                                      </p:stCondLst>
                                      <p:childTnLst>
                                        <p:set>
                                          <p:cBhvr>
                                            <p:cTn id="4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2" presetClass="entr" presetSubtype="1" fill="hold" nodeType="withEffect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2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3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4" presetID="2" presetClass="entr" presetSubtype="1" fill="hold" nodeType="withEffect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6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7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8" presetID="2" presetClass="entr" presetSubtype="1" fill="hold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0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1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62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4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7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8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0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7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4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6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7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9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0" presetID="10" presetClass="entr" presetSubtype="0" fill="hold" grpId="0" nodeType="withEffect">
                                      <p:stCondLst>
                                        <p:cond delay="3900"/>
                                      </p:stCondLst>
                                      <p:childTnLst>
                                        <p:set>
                                          <p:cBhvr>
                                            <p:cTn id="8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2" dur="50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10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42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500"/>
                                            <p:tgtEl>
                                              <p:spTgt spid="4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9" presetID="22" presetClass="entr" presetSubtype="8" fill="hold" nodeType="withEffect">
                                      <p:stCondLst>
                                        <p:cond delay="4300"/>
                                      </p:stCondLst>
                                      <p:childTnLst>
                                        <p:set>
                                          <p:cBhvr>
                                            <p:cTn id="9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91" dur="500"/>
                                            <p:tgtEl>
                                              <p:spTgt spid="5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2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4" dur="10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8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7" grpId="0"/>
          <p:bldP spid="48" grpId="0"/>
          <p:bldP spid="49" grpId="0"/>
          <p:bldP spid="2" grpId="0"/>
        </p:bldLst>
      </p:timing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19" y="6191"/>
          <a:ext cx="2617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9" y="6191"/>
                        <a:ext cx="2617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-160894" y="5196029"/>
            <a:ext cx="18025731" cy="2749827"/>
            <a:chOff x="-97574" y="3148931"/>
            <a:chExt cx="10931587" cy="1667615"/>
          </a:xfrm>
        </p:grpSpPr>
        <p:cxnSp>
          <p:nvCxnSpPr>
            <p:cNvPr id="34" name="Straight Connector 33"/>
            <p:cNvCxnSpPr/>
            <p:nvPr/>
          </p:nvCxnSpPr>
          <p:spPr>
            <a:xfrm>
              <a:off x="998971" y="3228946"/>
              <a:ext cx="9835042" cy="0"/>
            </a:xfrm>
            <a:prstGeom prst="line">
              <a:avLst/>
            </a:prstGeom>
            <a:ln>
              <a:solidFill>
                <a:srgbClr val="14CE9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val 34"/>
            <p:cNvSpPr/>
            <p:nvPr/>
          </p:nvSpPr>
          <p:spPr>
            <a:xfrm>
              <a:off x="3352348" y="3148931"/>
              <a:ext cx="171418" cy="171418"/>
            </a:xfrm>
            <a:prstGeom prst="ellipse">
              <a:avLst/>
            </a:prstGeom>
            <a:solidFill>
              <a:srgbClr val="F6F6F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>
                <a:buClrTx/>
                <a:defRPr/>
              </a:pPr>
              <a:endParaRPr lang="en-US" sz="2968" kern="1200" dirty="0">
                <a:solidFill>
                  <a:schemeClr val="tx1"/>
                </a:solidFill>
                <a:latin typeface="Montserrat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5778149" y="3148931"/>
              <a:ext cx="171418" cy="171418"/>
            </a:xfrm>
            <a:prstGeom prst="ellipse">
              <a:avLst/>
            </a:prstGeom>
            <a:solidFill>
              <a:srgbClr val="F6F6F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>
                <a:buClrTx/>
                <a:defRPr/>
              </a:pPr>
              <a:endParaRPr lang="en-US" sz="2968" kern="1200" dirty="0">
                <a:solidFill>
                  <a:schemeClr val="tx1"/>
                </a:solidFill>
                <a:latin typeface="Montserrat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8203951" y="3148931"/>
              <a:ext cx="171418" cy="171418"/>
            </a:xfrm>
            <a:prstGeom prst="ellipse">
              <a:avLst/>
            </a:prstGeom>
            <a:solidFill>
              <a:srgbClr val="F6F6F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>
                <a:buClrTx/>
                <a:defRPr/>
              </a:pPr>
              <a:endParaRPr lang="en-US" sz="2968" kern="1200" dirty="0">
                <a:solidFill>
                  <a:schemeClr val="tx1"/>
                </a:solidFill>
                <a:latin typeface="Montserrat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 rot="16200000">
              <a:off x="426958" y="4078879"/>
              <a:ext cx="1215979" cy="25935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r" defTabSz="1507846">
                <a:buClrTx/>
                <a:defRPr/>
              </a:pPr>
              <a:r>
                <a:rPr lang="ru-RU" sz="2474" b="1" kern="1200" dirty="0">
                  <a:latin typeface="Montserrat"/>
                  <a:ea typeface="+mn-ea"/>
                  <a:cs typeface="+mn-cs"/>
                </a:rPr>
                <a:t>3 месяца</a:t>
              </a:r>
              <a:endParaRPr lang="en-US" sz="2474" b="1" kern="1200" dirty="0"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344325" y="3546711"/>
              <a:ext cx="1720850" cy="4840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507846">
                <a:lnSpc>
                  <a:spcPts val="3298"/>
                </a:lnSpc>
                <a:buClrTx/>
                <a:defRPr/>
              </a:pPr>
              <a:r>
                <a:rPr lang="ru-RU" sz="1814" kern="1200" dirty="0">
                  <a:latin typeface="Montserrat Light" panose="00000400000000000000" pitchFamily="2" charset="-18"/>
                  <a:ea typeface="+mn-ea"/>
                  <a:cs typeface="+mn-cs"/>
                </a:rPr>
                <a:t>Тестирование</a:t>
              </a:r>
            </a:p>
            <a:p>
              <a:pPr defTabSz="1507846">
                <a:lnSpc>
                  <a:spcPts val="3298"/>
                </a:lnSpc>
                <a:buClrTx/>
                <a:defRPr/>
              </a:pPr>
              <a:r>
                <a:rPr lang="ru-RU" sz="1814" dirty="0">
                  <a:latin typeface="Montserrat Light" panose="00000400000000000000" pitchFamily="2" charset="-18"/>
                </a:rPr>
                <a:t>600 000руб</a:t>
              </a:r>
              <a:endParaRPr lang="en-US" sz="1814" kern="2000" dirty="0">
                <a:latin typeface="Montserrat Light" panose="00000400000000000000" pitchFamily="2" charset="-18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 rot="16200000">
              <a:off x="2909719" y="4005890"/>
              <a:ext cx="982063" cy="17141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r" defTabSz="1507846">
                <a:buClrTx/>
                <a:defRPr/>
              </a:pPr>
              <a:r>
                <a:rPr lang="ru-RU" sz="2474" b="1" kern="1200" dirty="0">
                  <a:latin typeface="Montserrat"/>
                  <a:ea typeface="+mn-ea"/>
                  <a:cs typeface="+mn-cs"/>
                </a:rPr>
                <a:t>2 месяца</a:t>
              </a:r>
              <a:endParaRPr lang="en-US" sz="2474" b="1" kern="1200" dirty="0"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754096" y="3546711"/>
              <a:ext cx="1720850" cy="7406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507846">
                <a:lnSpc>
                  <a:spcPts val="3298"/>
                </a:lnSpc>
                <a:buClrTx/>
                <a:defRPr/>
              </a:pPr>
              <a:r>
                <a:rPr lang="ru-RU" sz="1814" kern="1200" dirty="0">
                  <a:latin typeface="Montserrat Light" panose="00000400000000000000" pitchFamily="2" charset="-18"/>
                  <a:ea typeface="+mn-ea"/>
                  <a:cs typeface="+mn-cs"/>
                </a:rPr>
                <a:t>Развертывание, эксплуатация</a:t>
              </a:r>
            </a:p>
            <a:p>
              <a:pPr defTabSz="1507846">
                <a:lnSpc>
                  <a:spcPts val="3298"/>
                </a:lnSpc>
                <a:buClrTx/>
                <a:defRPr/>
              </a:pPr>
              <a:r>
                <a:rPr lang="ru-RU" sz="1814" dirty="0">
                  <a:latin typeface="Montserrat Light" panose="00000400000000000000" pitchFamily="2" charset="-18"/>
                </a:rPr>
                <a:t>600 000руб</a:t>
              </a:r>
              <a:endParaRPr lang="en-US" sz="1814" kern="2000" dirty="0">
                <a:latin typeface="Montserrat Light" panose="00000400000000000000" pitchFamily="2" charset="-18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 rot="16200000">
              <a:off x="5334726" y="3920487"/>
              <a:ext cx="982061" cy="342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r" defTabSz="1507846">
                <a:buClrTx/>
                <a:defRPr/>
              </a:pPr>
              <a:r>
                <a:rPr lang="ru-RU" sz="2474" b="1" kern="1200" dirty="0">
                  <a:latin typeface="Montserrat"/>
                  <a:ea typeface="+mn-ea"/>
                  <a:cs typeface="+mn-cs"/>
                </a:rPr>
                <a:t>4 месяца</a:t>
              </a:r>
              <a:endParaRPr lang="en-US" sz="2474" b="1" kern="1200" dirty="0"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176567" y="3546711"/>
              <a:ext cx="1720850" cy="4840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507846">
                <a:lnSpc>
                  <a:spcPts val="3298"/>
                </a:lnSpc>
                <a:buClrTx/>
                <a:defRPr/>
              </a:pPr>
              <a:r>
                <a:rPr lang="ru-RU" sz="1814" kern="1200" dirty="0">
                  <a:latin typeface="Montserrat Light" panose="00000400000000000000" pitchFamily="2" charset="-18"/>
                  <a:ea typeface="+mn-ea"/>
                  <a:cs typeface="+mn-cs"/>
                </a:rPr>
                <a:t>Раскрутка продукта</a:t>
              </a:r>
            </a:p>
            <a:p>
              <a:pPr defTabSz="1507846">
                <a:lnSpc>
                  <a:spcPts val="3298"/>
                </a:lnSpc>
                <a:buClrTx/>
                <a:defRPr/>
              </a:pPr>
              <a:r>
                <a:rPr lang="ru-RU" sz="1814" dirty="0">
                  <a:latin typeface="Montserrat Light" panose="00000400000000000000" pitchFamily="2" charset="-18"/>
                </a:rPr>
                <a:t>250 000руб</a:t>
              </a:r>
              <a:endParaRPr lang="en-US" sz="1814" kern="2000" dirty="0">
                <a:latin typeface="Montserrat Light" panose="00000400000000000000" pitchFamily="2" charset="-18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 rot="16200000">
              <a:off x="7661241" y="3953635"/>
              <a:ext cx="1111166" cy="4050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algn="r" defTabSz="1507846">
                <a:buClrTx/>
                <a:defRPr/>
              </a:pPr>
              <a:r>
                <a:rPr lang="ru-RU" sz="2474" b="1" kern="1200" dirty="0">
                  <a:latin typeface="Montserrat"/>
                  <a:ea typeface="+mn-ea"/>
                  <a:cs typeface="+mn-cs"/>
                </a:rPr>
                <a:t>21 месяц</a:t>
              </a:r>
              <a:endParaRPr lang="en-US" sz="2474" b="1" kern="1200" dirty="0"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599038" y="3546711"/>
              <a:ext cx="1720850" cy="48400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507846">
                <a:lnSpc>
                  <a:spcPts val="3298"/>
                </a:lnSpc>
                <a:buClrTx/>
                <a:defRPr/>
              </a:pPr>
              <a:r>
                <a:rPr lang="ru-RU" sz="1814" kern="1200" dirty="0">
                  <a:latin typeface="Montserrat Light" panose="00000400000000000000" pitchFamily="2" charset="-18"/>
                  <a:ea typeface="+mn-ea"/>
                  <a:cs typeface="+mn-cs"/>
                </a:rPr>
                <a:t>Поддержка продукта</a:t>
              </a:r>
            </a:p>
            <a:p>
              <a:pPr defTabSz="1507846">
                <a:lnSpc>
                  <a:spcPts val="3298"/>
                </a:lnSpc>
                <a:buClrTx/>
                <a:defRPr/>
              </a:pPr>
              <a:r>
                <a:rPr lang="ru-RU" sz="1814" dirty="0">
                  <a:latin typeface="Montserrat Light" panose="00000400000000000000" pitchFamily="2" charset="-18"/>
                </a:rPr>
                <a:t>400 000руб/</a:t>
              </a:r>
              <a:r>
                <a:rPr lang="ru-RU" sz="1814" dirty="0" err="1">
                  <a:latin typeface="Montserrat Light" panose="00000400000000000000" pitchFamily="2" charset="-18"/>
                </a:rPr>
                <a:t>мес</a:t>
              </a:r>
              <a:endParaRPr lang="en-US" sz="1814" kern="2000" dirty="0">
                <a:latin typeface="Montserrat Light" panose="00000400000000000000" pitchFamily="2" charset="-18"/>
              </a:endParaRPr>
            </a:p>
          </p:txBody>
        </p:sp>
        <p:cxnSp>
          <p:nvCxnSpPr>
            <p:cNvPr id="51" name="Straight Connector 50"/>
            <p:cNvCxnSpPr/>
            <p:nvPr/>
          </p:nvCxnSpPr>
          <p:spPr>
            <a:xfrm>
              <a:off x="-97574" y="3228946"/>
              <a:ext cx="1060354" cy="0"/>
            </a:xfrm>
            <a:prstGeom prst="line">
              <a:avLst/>
            </a:prstGeom>
            <a:ln>
              <a:solidFill>
                <a:srgbClr val="5D5B6F">
                  <a:alpha val="27059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Oval 37"/>
            <p:cNvSpPr/>
            <p:nvPr/>
          </p:nvSpPr>
          <p:spPr>
            <a:xfrm>
              <a:off x="926547" y="3148931"/>
              <a:ext cx="171418" cy="171418"/>
            </a:xfrm>
            <a:prstGeom prst="ellipse">
              <a:avLst/>
            </a:prstGeom>
            <a:solidFill>
              <a:srgbClr val="F6F6F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>
                <a:buClrTx/>
                <a:defRPr/>
              </a:pPr>
              <a:endParaRPr lang="en-US" sz="2968" kern="1200" dirty="0">
                <a:solidFill>
                  <a:schemeClr val="tx1"/>
                </a:solidFill>
                <a:latin typeface="Montserrat"/>
              </a:endParaRPr>
            </a:p>
          </p:txBody>
        </p:sp>
      </p:grpSp>
      <p:pic>
        <p:nvPicPr>
          <p:cNvPr id="46" name="Picture 4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9302" y="3671629"/>
            <a:ext cx="1487807" cy="901266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2028" y="3629176"/>
            <a:ext cx="636241" cy="986169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6891" y="3721026"/>
            <a:ext cx="967683" cy="802469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92801" y="3669889"/>
            <a:ext cx="849670" cy="904744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3022513" y="1538146"/>
            <a:ext cx="3237082" cy="90473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 defTabSz="1507846">
              <a:buClrTx/>
              <a:defRPr/>
            </a:pPr>
            <a:endParaRPr lang="en-US" sz="2309" b="1" kern="1200" dirty="0">
              <a:solidFill>
                <a:schemeClr val="tx1"/>
              </a:solidFill>
              <a:latin typeface="Gabriela" panose="00000500000000000000" pitchFamily="2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13600984" y="2197789"/>
            <a:ext cx="0" cy="2445056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13314733" y="4938342"/>
            <a:ext cx="620035" cy="620035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13477899" y="5101508"/>
            <a:ext cx="293703" cy="293703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schemeClr val="tx1"/>
              </a:solidFill>
              <a:latin typeface="Montserrat"/>
            </a:endParaRPr>
          </a:p>
        </p:txBody>
      </p:sp>
      <p:sp>
        <p:nvSpPr>
          <p:cNvPr id="8" name="Oval 7"/>
          <p:cNvSpPr/>
          <p:nvPr/>
        </p:nvSpPr>
        <p:spPr>
          <a:xfrm>
            <a:off x="13514167" y="5137776"/>
            <a:ext cx="221170" cy="221170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schemeClr val="tx1"/>
              </a:solidFill>
              <a:latin typeface="Montserrat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13215260" y="4838868"/>
            <a:ext cx="818982" cy="818982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>
              <a:buClrTx/>
              <a:defRPr/>
            </a:pPr>
            <a:endParaRPr lang="en-US" sz="2968" kern="1200" dirty="0">
              <a:solidFill>
                <a:prstClr val="white"/>
              </a:solidFill>
              <a:latin typeface="Montserrat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8EB568F-BFF6-0E9D-79C0-6991758CBD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75836" y="232712"/>
            <a:ext cx="12650296" cy="119492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D9BD3EA-B423-25B5-6450-2BDBA3E9C02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162623" y="337414"/>
            <a:ext cx="3779848" cy="166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336958"/>
      </p:ext>
    </p:extLst>
  </p:cSld>
  <p:clrMapOvr>
    <a:masterClrMapping/>
  </p:clrMapOvr>
  <p:transition spd="slow">
    <p:push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withEffect" p14:presetBounceEnd="4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7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nodeType="withEffect" p14:presetBounceEnd="46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1" dur="7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2" dur="7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nodeType="withEffect" p14:presetBounceEnd="46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5" dur="7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16" dur="7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nodeType="withEffect" p14:presetBounceEnd="46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19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20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8" dur="9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9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9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12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12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5" dur="12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1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1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1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3" dur="1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 nodePh="1">
                                      <p:stCondLst>
                                        <p:cond delay="1900"/>
                                      </p:stCondLst>
                                      <p:endCondLst>
                                        <p:cond evt="begin" delay="0">
                                          <p:tn val="44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1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8" dur="9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9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9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12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12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5" dur="120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6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1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1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1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43" dur="1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>
                                      <p:stCondLst>
                                        <p:cond delay="190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1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7" grpId="0"/>
          <p:bldP spid="24" grpId="0" animBg="1"/>
          <p:bldP spid="23" grpId="0" animBg="1"/>
          <p:bldP spid="8" grpId="0" animBg="1"/>
          <p:bldP spid="32" grpId="0" animBg="1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ACA1D3-A985-CA4B-8A99-352E9BB6E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0" y="1084488"/>
            <a:ext cx="4134613" cy="1120830"/>
          </a:xfrm>
          <a:prstGeom prst="rect">
            <a:avLst/>
          </a:prstGeom>
        </p:spPr>
        <p:txBody>
          <a:bodyPr/>
          <a:lstStyle/>
          <a:p>
            <a:r>
              <a:rPr lang="ru-RU" b="1" dirty="0">
                <a:solidFill>
                  <a:schemeClr val="accent1"/>
                </a:solidFill>
              </a:rPr>
              <a:t>Команда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7FDD3F57-7643-9446-901D-8FBE090AE2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Руководство проектом, заполнение паспорта, оформление презентации, распределение задач для команды</a:t>
            </a:r>
          </a:p>
        </p:txBody>
      </p:sp>
      <p:sp>
        <p:nvSpPr>
          <p:cNvPr id="24" name="Текст 23">
            <a:extLst>
              <a:ext uri="{FF2B5EF4-FFF2-40B4-BE49-F238E27FC236}">
                <a16:creationId xmlns:a16="http://schemas.microsoft.com/office/drawing/2014/main" id="{3A491EAE-61CE-9549-AB51-FD2BFFBEC8D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err="1"/>
              <a:t>Кимайкина</a:t>
            </a:r>
            <a:r>
              <a:rPr lang="ru-RU" dirty="0"/>
              <a:t> Д.В.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90DF322C-267D-5D46-B58E-CB1ED9E48F7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812722" y="7339618"/>
            <a:ext cx="4134612" cy="2103120"/>
          </a:xfrm>
        </p:spPr>
        <p:txBody>
          <a:bodyPr/>
          <a:lstStyle/>
          <a:p>
            <a:r>
              <a:rPr lang="ru-RU" dirty="0"/>
              <a:t>Сбор и аналитика данных, расчет индекса рентабельности инвестиций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702630D-6CDA-D1AE-4053-8D760C9B5FBC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rcRect t="12403" b="12403"/>
          <a:stretch>
            <a:fillRect/>
          </a:stretch>
        </p:blipFill>
        <p:spPr>
          <a:xfrm>
            <a:off x="10052050" y="2784422"/>
            <a:ext cx="3117125" cy="3119438"/>
          </a:xfrm>
        </p:spPr>
      </p:pic>
      <p:sp>
        <p:nvSpPr>
          <p:cNvPr id="27" name="Текст 26">
            <a:extLst>
              <a:ext uri="{FF2B5EF4-FFF2-40B4-BE49-F238E27FC236}">
                <a16:creationId xmlns:a16="http://schemas.microsoft.com/office/drawing/2014/main" id="{8662CAD4-AE6A-E14B-A88F-B1C3D23B243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0052050" y="6402283"/>
            <a:ext cx="4134612" cy="438912"/>
          </a:xfrm>
        </p:spPr>
        <p:txBody>
          <a:bodyPr/>
          <a:lstStyle/>
          <a:p>
            <a:r>
              <a:rPr lang="ru-RU" dirty="0"/>
              <a:t>Панченко А.Н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3A687D1-AF76-6F5C-FBF5-008DB1D71F23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t="12472" b="12472"/>
          <a:stretch>
            <a:fillRect/>
          </a:stretch>
        </p:blipFill>
        <p:spPr>
          <a:xfrm>
            <a:off x="894588" y="3023957"/>
            <a:ext cx="3117125" cy="3119439"/>
          </a:xfrm>
        </p:spPr>
      </p:pic>
    </p:spTree>
    <p:extLst>
      <p:ext uri="{BB962C8B-B14F-4D97-AF65-F5344CB8AC3E}">
        <p14:creationId xmlns:p14="http://schemas.microsoft.com/office/powerpoint/2010/main" val="22793640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ACA1D3-A985-CA4B-8A99-352E9BB6E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464" y="4564856"/>
            <a:ext cx="9733828" cy="2185988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 b="1" dirty="0"/>
              <a:t>Контакты</a:t>
            </a:r>
            <a:endParaRPr lang="ru-RU" dirty="0"/>
          </a:p>
        </p:txBody>
      </p:sp>
      <p:sp>
        <p:nvSpPr>
          <p:cNvPr id="4" name="Текст 2">
            <a:extLst>
              <a:ext uri="{FF2B5EF4-FFF2-40B4-BE49-F238E27FC236}">
                <a16:creationId xmlns:a16="http://schemas.microsoft.com/office/drawing/2014/main" id="{7082242F-83C6-084D-AE29-2946DC57981E}"/>
              </a:ext>
            </a:extLst>
          </p:cNvPr>
          <p:cNvSpPr txBox="1">
            <a:spLocks/>
          </p:cNvSpPr>
          <p:nvPr/>
        </p:nvSpPr>
        <p:spPr>
          <a:xfrm>
            <a:off x="2668761" y="7631892"/>
            <a:ext cx="9733829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4360"/>
              </a:lnSpc>
              <a:buClrTx/>
            </a:pPr>
            <a:r>
              <a:rPr lang="en-US" sz="2800" dirty="0">
                <a:hlinkClick r:id="rId2"/>
              </a:rPr>
              <a:t>https://vk.com/aet_erno</a:t>
            </a:r>
            <a:endParaRPr lang="ru-RU" sz="2800" dirty="0"/>
          </a:p>
          <a:p>
            <a:pPr>
              <a:lnSpc>
                <a:spcPts val="4360"/>
              </a:lnSpc>
              <a:buClrTx/>
            </a:pPr>
            <a:r>
              <a:rPr lang="en-US" sz="2800" dirty="0"/>
              <a:t>+7 (</a:t>
            </a:r>
            <a:r>
              <a:rPr lang="ru-RU" sz="2800" dirty="0"/>
              <a:t>904) 261-99-03</a:t>
            </a:r>
          </a:p>
          <a:p>
            <a:pPr>
              <a:lnSpc>
                <a:spcPts val="4360"/>
              </a:lnSpc>
              <a:buClrTx/>
            </a:pPr>
            <a:r>
              <a:rPr lang="en-US" sz="2800" dirty="0"/>
              <a:t>dasha210800@gmail.com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9309065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71ED838-C5F8-5BF8-527C-4FB20A960F4F}"/>
              </a:ext>
            </a:extLst>
          </p:cNvPr>
          <p:cNvSpPr/>
          <p:nvPr/>
        </p:nvSpPr>
        <p:spPr>
          <a:xfrm>
            <a:off x="764187" y="7866299"/>
            <a:ext cx="8766476" cy="5998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507846">
              <a:buClr>
                <a:srgbClr val="176DEA"/>
              </a:buClr>
              <a:defRPr/>
            </a:pPr>
            <a:r>
              <a:rPr lang="ru-RU" sz="3298" kern="1200" dirty="0">
                <a:solidFill>
                  <a:prstClr val="white">
                    <a:alpha val="50000"/>
                  </a:prstClr>
                </a:solidFill>
                <a:latin typeface="ALS Sector Regular" pitchFamily="2" charset="0"/>
                <a:ea typeface="+mn-ea"/>
                <a:cs typeface="ALS Sector Regular" pitchFamily="2" charset="0"/>
              </a:rPr>
              <a:t>Контакты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2578532-56B0-BF4D-59FD-2921735FEB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20104100" cy="113157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DFBEB0B-BDAE-263E-7F61-13466A0C5ACF}"/>
              </a:ext>
            </a:extLst>
          </p:cNvPr>
          <p:cNvSpPr txBox="1"/>
          <p:nvPr/>
        </p:nvSpPr>
        <p:spPr>
          <a:xfrm>
            <a:off x="480392" y="7751017"/>
            <a:ext cx="10157790" cy="17257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3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vk.com/aet_erno</a:t>
            </a:r>
            <a:endParaRPr kumimoji="0" lang="ru-RU" sz="2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ts val="43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+7 (</a:t>
            </a:r>
            <a:r>
              <a: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904) 261-99-03</a:t>
            </a:r>
          </a:p>
          <a:p>
            <a:pPr marL="0" marR="0" lvl="0" indent="0" algn="l" defTabSz="914400" rtl="0" eaLnBrk="1" fontAlgn="auto" latinLnBrk="0" hangingPunct="1">
              <a:lnSpc>
                <a:spcPts val="43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asha210800@gmail.com</a:t>
            </a:r>
            <a:endParaRPr kumimoji="0" lang="ru-RU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7127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347DB75-E334-F89C-AA10-66EB202CFE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37463" t="28140" r="38251" b="23625"/>
          <a:stretch/>
        </p:blipFill>
        <p:spPr>
          <a:xfrm>
            <a:off x="937759" y="1970754"/>
            <a:ext cx="2948433" cy="329406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E5626C5-D59D-EB0A-802C-4C66041B5FA6}"/>
              </a:ext>
            </a:extLst>
          </p:cNvPr>
          <p:cNvSpPr txBox="1"/>
          <p:nvPr/>
        </p:nvSpPr>
        <p:spPr>
          <a:xfrm>
            <a:off x="4136808" y="1786943"/>
            <a:ext cx="15807714" cy="34778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ru-RU" sz="4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упнейший оздоровительный, образовательный и досуговый проект для москвичей старшего возраста. Заводите новые знакомства, общайтесь с единомышленниками, обменивайтесь опытом и становитесь </a:t>
            </a:r>
          </a:p>
          <a:p>
            <a:r>
              <a:rPr lang="ru-RU" sz="4400" dirty="0">
                <a:solidFill>
                  <a:schemeClr val="accent1">
                    <a:lumMod val="60000"/>
                    <a:lumOff val="4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ставниками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2BFE14-43B3-19F2-ABA2-DE310EAFD896}"/>
              </a:ext>
            </a:extLst>
          </p:cNvPr>
          <p:cNvSpPr txBox="1"/>
          <p:nvPr/>
        </p:nvSpPr>
        <p:spPr>
          <a:xfrm>
            <a:off x="253724" y="5658394"/>
            <a:ext cx="10845992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>
                    <a:lumMod val="75000"/>
                  </a:schemeClr>
                </a:solidFill>
              </a:rPr>
              <a:t>Департамент отвечает за меры </a:t>
            </a:r>
          </a:p>
          <a:p>
            <a:r>
              <a:rPr lang="ru-RU" sz="3600" dirty="0">
                <a:solidFill>
                  <a:schemeClr val="accent1">
                    <a:lumMod val="75000"/>
                  </a:schemeClr>
                </a:solidFill>
              </a:rPr>
              <a:t>социальной </a:t>
            </a:r>
          </a:p>
          <a:p>
            <a:r>
              <a:rPr lang="ru-RU" sz="3600" dirty="0">
                <a:solidFill>
                  <a:schemeClr val="accent1">
                    <a:lumMod val="75000"/>
                  </a:schemeClr>
                </a:solidFill>
              </a:rPr>
              <a:t>поддержки, выплаты, социальные и </a:t>
            </a:r>
          </a:p>
          <a:p>
            <a:r>
              <a:rPr lang="ru-RU" sz="3600" dirty="0">
                <a:solidFill>
                  <a:schemeClr val="accent1">
                    <a:lumMod val="75000"/>
                  </a:schemeClr>
                </a:solidFill>
              </a:rPr>
              <a:t>реабилитационные услуги гражданам, находящимся в трудной жизненной ситуации. Он занимается профилактикой безнадзорности несовершеннолетних, устраивает детей, лишившихся родителей, в семью. Ведомство также помогает в поиске работы, занимается охраной труда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303927A-766C-FD3F-5521-5F4CA78E87B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33167" b="34497"/>
          <a:stretch/>
        </p:blipFill>
        <p:spPr>
          <a:xfrm>
            <a:off x="7566991" y="5434472"/>
            <a:ext cx="4468307" cy="144491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12099A3-C180-2290-A433-FD26F9D4402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6447" t="17226" b="-1"/>
          <a:stretch/>
        </p:blipFill>
        <p:spPr>
          <a:xfrm>
            <a:off x="11016656" y="4648774"/>
            <a:ext cx="9004384" cy="659684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A76791E-64BC-3AB3-33CC-A06F1FDE035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3374" b="89460"/>
          <a:stretch/>
        </p:blipFill>
        <p:spPr>
          <a:xfrm>
            <a:off x="7456651" y="0"/>
            <a:ext cx="12647450" cy="1192696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D511394-36EB-0BC9-65AF-4AC190E39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34838" y="157163"/>
            <a:ext cx="7114553" cy="86599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/>
          <a:lstStyle/>
          <a:p>
            <a:r>
              <a:rPr lang="ru-RU" b="1" u="sng" dirty="0"/>
              <a:t>Целевая аудитория:</a:t>
            </a:r>
            <a:endParaRPr lang="ru-RU" u="sng" dirty="0"/>
          </a:p>
        </p:txBody>
      </p:sp>
    </p:spTree>
    <p:extLst>
      <p:ext uri="{BB962C8B-B14F-4D97-AF65-F5344CB8AC3E}">
        <p14:creationId xmlns:p14="http://schemas.microsoft.com/office/powerpoint/2010/main" val="2992469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Текст 19">
            <a:extLst>
              <a:ext uri="{FF2B5EF4-FFF2-40B4-BE49-F238E27FC236}">
                <a16:creationId xmlns:a16="http://schemas.microsoft.com/office/drawing/2014/main" id="{283F6D99-FE8F-3447-990D-DE77451547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2400" b="1" dirty="0"/>
              <a:t>1.Экономия времени всех участников процесса, включая собственников, охрану и администрацию. Например, через приложение можно заранее заказать пропуск и продолжить заниматься своими делами. </a:t>
            </a:r>
          </a:p>
          <a:p>
            <a:r>
              <a:rPr lang="ru-RU" sz="2400" b="1" dirty="0"/>
              <a:t>2.Дополнительные гарантии безопасности. Каждый посетитель будет отображён в системе в соответствии со своим статусом. </a:t>
            </a:r>
          </a:p>
          <a:p>
            <a:endParaRPr lang="ru-RU" dirty="0"/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id="{7EAC65FC-622C-F345-B63F-43F6DE7BD5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ru-RU" sz="2400" b="1" dirty="0"/>
              <a:t>3.Возможность анализировать данные. Будет доступна статистика: сколько человек находилось на территории, как часто приезжало и т. п.. </a:t>
            </a:r>
          </a:p>
          <a:p>
            <a:r>
              <a:rPr lang="ru-RU" sz="2400" b="1" dirty="0"/>
              <a:t>4.Увеличение лояльности пользователей за счёт высокого уровня сервиса и внедрения современных технологий. Это отразится на имидже и статусности объекта. </a:t>
            </a:r>
          </a:p>
          <a:p>
            <a:r>
              <a:rPr lang="ru-RU" sz="2400" b="1" dirty="0"/>
              <a:t>5.Увеличение пропускной способности и экономия рабочего времени сотрудников, а значит, снижение затрат на физическую охрану объекта. </a:t>
            </a:r>
          </a:p>
          <a:p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2FF21E2-196A-3808-59A8-A30F7BB0F4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567" y="5657850"/>
            <a:ext cx="4517059" cy="4517059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4FCA8A4-2602-9155-5DE9-A2F7FE9128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17678" y="6453809"/>
            <a:ext cx="5469035" cy="4667906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05F6653-1B6B-7E4E-CDFC-82CBC6A82C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7998" y="373459"/>
            <a:ext cx="12650296" cy="119492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362F0C8-0A6D-46D7-B537-A31D298F83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31730" y="490444"/>
            <a:ext cx="6907367" cy="117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195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6DB943D-A1C9-4404-80B4-80E98EE3A3F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1706" t="-1082" r="-1819" b="-2520"/>
          <a:stretch/>
        </p:blipFill>
        <p:spPr>
          <a:xfrm>
            <a:off x="863229" y="2485562"/>
            <a:ext cx="5524319" cy="8716459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73745D2-2C84-40E9-FCA6-C89E24A80D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4554" y="2637183"/>
            <a:ext cx="4693876" cy="836459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3B8D45C-20B8-538C-60C4-EF764B6A59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50963" y="2594485"/>
            <a:ext cx="4223785" cy="849385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FD69835-4222-6878-8FD7-C7B82C578D8C}"/>
              </a:ext>
            </a:extLst>
          </p:cNvPr>
          <p:cNvSpPr txBox="1"/>
          <p:nvPr/>
        </p:nvSpPr>
        <p:spPr>
          <a:xfrm>
            <a:off x="1527312" y="255114"/>
            <a:ext cx="715617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Это программное обеспечение, которое включает в себя пропускную систему функцию отслеживания уникальных посетителей и учета времени, проведенного гражданами в локациях.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820E1B1-CD0F-21BC-DCCF-E189AE489C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53804" y="94636"/>
            <a:ext cx="12650296" cy="11949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4455A75-F21D-EE40-6642-6D62B30DEE54}"/>
              </a:ext>
            </a:extLst>
          </p:cNvPr>
          <p:cNvSpPr txBox="1"/>
          <p:nvPr/>
        </p:nvSpPr>
        <p:spPr>
          <a:xfrm>
            <a:off x="11631706" y="255114"/>
            <a:ext cx="8472393" cy="193899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4000" dirty="0">
                <a:solidFill>
                  <a:schemeClr val="accent1">
                    <a:lumMod val="50000"/>
                  </a:schemeClr>
                </a:solidFill>
              </a:rPr>
              <a:t>Пример модели ПО на базе решения проблемы московского долголетия:</a:t>
            </a:r>
          </a:p>
        </p:txBody>
      </p:sp>
    </p:spTree>
    <p:extLst>
      <p:ext uri="{BB962C8B-B14F-4D97-AF65-F5344CB8AC3E}">
        <p14:creationId xmlns:p14="http://schemas.microsoft.com/office/powerpoint/2010/main" val="1746910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>
            <a:extLst>
              <a:ext uri="{FF2B5EF4-FFF2-40B4-BE49-F238E27FC236}">
                <a16:creationId xmlns:a16="http://schemas.microsoft.com/office/drawing/2014/main" id="{857418DB-37CF-2943-BAD4-176F0C2D3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719" y="1555503"/>
            <a:ext cx="9741217" cy="788990"/>
          </a:xfrm>
        </p:spPr>
        <p:txBody>
          <a:bodyPr/>
          <a:lstStyle/>
          <a:p>
            <a:r>
              <a:rPr lang="ru-RU" b="1" dirty="0"/>
              <a:t>Проблемы целевой аудитории:</a:t>
            </a:r>
            <a:br>
              <a:rPr lang="ru-RU" b="1" dirty="0"/>
            </a:br>
            <a:br>
              <a:rPr lang="ru-RU" b="1" dirty="0"/>
            </a:br>
            <a:br>
              <a:rPr lang="ru-RU" b="1" dirty="0"/>
            </a:br>
            <a:endParaRPr lang="ru-RU" b="1" dirty="0"/>
          </a:p>
        </p:txBody>
      </p:sp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E94BE228-B0D0-95A3-90A8-CC00F3DEC7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673122"/>
              </p:ext>
            </p:extLst>
          </p:nvPr>
        </p:nvGraphicFramePr>
        <p:xfrm>
          <a:off x="894588" y="2339788"/>
          <a:ext cx="8793162" cy="81575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6B7498BF-A887-DC0A-19E3-D585F986A2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2514556"/>
              </p:ext>
            </p:extLst>
          </p:nvPr>
        </p:nvGraphicFramePr>
        <p:xfrm>
          <a:off x="10544366" y="2781035"/>
          <a:ext cx="8793162" cy="7554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6" name="Текст 15">
            <a:extLst>
              <a:ext uri="{FF2B5EF4-FFF2-40B4-BE49-F238E27FC236}">
                <a16:creationId xmlns:a16="http://schemas.microsoft.com/office/drawing/2014/main" id="{E8E038BC-E53B-614C-A9F9-2C3CA505EC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262361" y="1524735"/>
            <a:ext cx="8841739" cy="911090"/>
          </a:xfrm>
        </p:spPr>
        <p:txBody>
          <a:bodyPr/>
          <a:lstStyle/>
          <a:p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Способы их разрешения:</a:t>
            </a:r>
            <a:endParaRPr lang="ru-RU" dirty="0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90AB91E5-90D4-1981-DEB9-60AF25FE5A6B}"/>
              </a:ext>
            </a:extLst>
          </p:cNvPr>
          <p:cNvGrpSpPr/>
          <p:nvPr/>
        </p:nvGrpSpPr>
        <p:grpSpPr>
          <a:xfrm rot="16200000">
            <a:off x="9365374" y="2914649"/>
            <a:ext cx="1359552" cy="2623932"/>
            <a:chOff x="3716804" y="3210975"/>
            <a:chExt cx="1359552" cy="1132960"/>
          </a:xfrm>
        </p:grpSpPr>
        <p:sp>
          <p:nvSpPr>
            <p:cNvPr id="7" name="Стрелка: вправо 6">
              <a:extLst>
                <a:ext uri="{FF2B5EF4-FFF2-40B4-BE49-F238E27FC236}">
                  <a16:creationId xmlns:a16="http://schemas.microsoft.com/office/drawing/2014/main" id="{F2D50F9C-94C3-5FD9-8DD2-CA08BE136B30}"/>
                </a:ext>
              </a:extLst>
            </p:cNvPr>
            <p:cNvSpPr/>
            <p:nvPr/>
          </p:nvSpPr>
          <p:spPr>
            <a:xfrm rot="5400000">
              <a:off x="3830100" y="3097679"/>
              <a:ext cx="1132960" cy="1359552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Стрелка: вправо 4">
              <a:extLst>
                <a:ext uri="{FF2B5EF4-FFF2-40B4-BE49-F238E27FC236}">
                  <a16:creationId xmlns:a16="http://schemas.microsoft.com/office/drawing/2014/main" id="{60241757-DA78-4822-EE69-F191C23F7E52}"/>
                </a:ext>
              </a:extLst>
            </p:cNvPr>
            <p:cNvSpPr txBox="1"/>
            <p:nvPr/>
          </p:nvSpPr>
          <p:spPr>
            <a:xfrm>
              <a:off x="3988714" y="3210975"/>
              <a:ext cx="815732" cy="7930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1800" kern="1200"/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C384826-B50F-37FD-E159-77D93147442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81016" y="7854902"/>
            <a:ext cx="2621507" cy="135952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9AC1F37-A25F-4426-6BC3-868742E1757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453804" y="868"/>
            <a:ext cx="12650296" cy="119492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556CD46-66CE-6758-DC65-59587067650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800000">
            <a:off x="6043" y="-10009"/>
            <a:ext cx="12650296" cy="1194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285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BFC6669-1C0F-6C12-4C85-3EE876AF82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29870" y="3335596"/>
            <a:ext cx="10569437" cy="704981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CA494A-5391-E454-44E0-622AD85ABBDE}"/>
              </a:ext>
            </a:extLst>
          </p:cNvPr>
          <p:cNvSpPr txBox="1"/>
          <p:nvPr/>
        </p:nvSpPr>
        <p:spPr>
          <a:xfrm>
            <a:off x="268356" y="2188337"/>
            <a:ext cx="12957313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200" u="sng" dirty="0"/>
              <a:t>Технология B2G (Business-</a:t>
            </a:r>
            <a:r>
              <a:rPr lang="ru-RU" sz="3200" u="sng" dirty="0" err="1"/>
              <a:t>to</a:t>
            </a:r>
            <a:r>
              <a:rPr lang="ru-RU" sz="3200" u="sng" dirty="0"/>
              <a:t>-Government) в рамках социальной программы “Московское долголетие” представляет собой модель взаимодействия между бизнесом и государственными структурами, направленную на улучшение качества жизни пожилых людей в Москве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724EAD8-2B86-F84D-9DCB-1AFB2B24C9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34007" y="55657"/>
            <a:ext cx="12650296" cy="1194920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80F9A82B-24B4-F126-2AB1-CA338546E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14088" y="234950"/>
            <a:ext cx="9740900" cy="911225"/>
          </a:xfrm>
          <a:prstGeom prst="rect">
            <a:avLst/>
          </a:prstGeom>
        </p:spPr>
        <p:txBody>
          <a:bodyPr/>
          <a:lstStyle/>
          <a:p>
            <a:r>
              <a:rPr lang="ru-RU" b="1" u="sng" dirty="0"/>
              <a:t>Бизнес-модель</a:t>
            </a:r>
            <a:endParaRPr lang="ru-RU" u="sng" dirty="0"/>
          </a:p>
        </p:txBody>
      </p:sp>
    </p:spTree>
    <p:extLst>
      <p:ext uri="{BB962C8B-B14F-4D97-AF65-F5344CB8AC3E}">
        <p14:creationId xmlns:p14="http://schemas.microsoft.com/office/powerpoint/2010/main" val="25462778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C1711C8-AFFD-0062-F839-485C5CF613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4633" y="2232163"/>
            <a:ext cx="3625298" cy="362529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5B91BAE-E185-4617-C305-A68AE3778E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6343" y="3127553"/>
            <a:ext cx="8153124" cy="156947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772DFA1-369D-289B-AF31-446DB7F274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58167" y="6418769"/>
            <a:ext cx="6761232" cy="375624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4B8722E-C043-7233-3EDA-102588BCA0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8681" y="4711424"/>
            <a:ext cx="6604276" cy="660427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4DDD590-39BD-BEC2-E786-0B84C882FC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06656" y="103533"/>
            <a:ext cx="12650296" cy="119492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5DC51F5-3F2C-1491-8B6D-D89028180F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94260" y="237657"/>
            <a:ext cx="5255207" cy="92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319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539111-A14B-F84A-5F89-A69899253E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10B432C-7655-215D-B958-EB65288871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06656" y="103533"/>
            <a:ext cx="12650296" cy="11949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51EBE16-FC23-2BCB-B1FD-03C1DEAD034D}"/>
              </a:ext>
            </a:extLst>
          </p:cNvPr>
          <p:cNvSpPr txBox="1"/>
          <p:nvPr/>
        </p:nvSpPr>
        <p:spPr>
          <a:xfrm>
            <a:off x="10396607" y="289769"/>
            <a:ext cx="95081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/>
              <a:t>Преимущества перед конкурентами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CBBB47-1784-4ED3-CE19-DF7BBBDAE6BB}"/>
              </a:ext>
            </a:extLst>
          </p:cNvPr>
          <p:cNvSpPr txBox="1"/>
          <p:nvPr/>
        </p:nvSpPr>
        <p:spPr>
          <a:xfrm>
            <a:off x="212386" y="1484689"/>
            <a:ext cx="12204901" cy="87100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dirty="0"/>
              <a:t>Можно выделить следующие существенные преимущества перед конкурентами:</a:t>
            </a:r>
          </a:p>
          <a:p>
            <a:endParaRPr lang="ru-RU" sz="2800" dirty="0"/>
          </a:p>
          <a:p>
            <a:r>
              <a:rPr lang="ru-RU" sz="2800" dirty="0"/>
              <a:t>-Гибкость и адаптивность: Небольшая команда позволяет быстро реагировать на изменения потребностей пользователей и внедрять инновации.</a:t>
            </a:r>
          </a:p>
          <a:p>
            <a:endParaRPr lang="ru-RU" sz="2800" dirty="0"/>
          </a:p>
          <a:p>
            <a:r>
              <a:rPr lang="ru-RU" sz="2800" dirty="0"/>
              <a:t>- Персонализированный подход: Возможность индивидуального обслуживания и создания уникальных программ, что повышает удовлетворенность участников.</a:t>
            </a:r>
          </a:p>
          <a:p>
            <a:endParaRPr lang="ru-RU" sz="2800" dirty="0"/>
          </a:p>
          <a:p>
            <a:r>
              <a:rPr lang="ru-RU" sz="2800" dirty="0"/>
              <a:t>- Локальное присутствие: Углубленное понимание местных сообществ и их потребностей, что способствует более эффективному взаимодействию с пользователями.</a:t>
            </a:r>
          </a:p>
          <a:p>
            <a:endParaRPr lang="ru-RU" sz="2800" dirty="0"/>
          </a:p>
          <a:p>
            <a:r>
              <a:rPr lang="ru-RU" sz="2800" dirty="0"/>
              <a:t>- Низкие накладные расходы: Меньшие операционные затраты позволяют предлагать более доступные цены на услуги.</a:t>
            </a:r>
          </a:p>
          <a:p>
            <a:endParaRPr lang="ru-RU" sz="2800" dirty="0"/>
          </a:p>
          <a:p>
            <a:r>
              <a:rPr lang="ru-RU" sz="2800" dirty="0"/>
              <a:t>Эти аспекты могут стать ключевыми факторами успеха нашего проекта.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3A793F2-A132-8678-DDB5-C54E75A47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82255" y="2138362"/>
            <a:ext cx="6143625" cy="703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53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1732B3-49D7-7318-94D8-2D7F4E063A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A5B5661-4A86-E071-EBFD-C47546D396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0163" y="161366"/>
            <a:ext cx="20204425" cy="8511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827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БЛОЖКИ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РАЗДЕЛИТЕЛИ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89BBA01C4FE21449AAFFFA76EBF4062" ma:contentTypeVersion="11" ma:contentTypeDescription="Создание документа." ma:contentTypeScope="" ma:versionID="79aedfc5a69420e3d16d7088044bfd88">
  <xsd:schema xmlns:xsd="http://www.w3.org/2001/XMLSchema" xmlns:xs="http://www.w3.org/2001/XMLSchema" xmlns:p="http://schemas.microsoft.com/office/2006/metadata/properties" xmlns:ns2="dae585fd-f7dc-4d5a-b1b8-e5742ef77c8f" xmlns:ns3="f3f21cfc-4d3e-42b1-8a95-d7209818f9d6" targetNamespace="http://schemas.microsoft.com/office/2006/metadata/properties" ma:root="true" ma:fieldsID="cf8c26219cdb8dd4a9c0e137e475de8a" ns2:_="" ns3:_="">
    <xsd:import namespace="dae585fd-f7dc-4d5a-b1b8-e5742ef77c8f"/>
    <xsd:import namespace="f3f21cfc-4d3e-42b1-8a95-d7209818f9d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e585fd-f7dc-4d5a-b1b8-e5742ef77c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f21cfc-4d3e-42b1-8a95-d7209818f9d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3A4F37C-2065-498A-9F8A-F1C3212BD4FE}">
  <ds:schemaRefs>
    <ds:schemaRef ds:uri="dae585fd-f7dc-4d5a-b1b8-e5742ef77c8f"/>
    <ds:schemaRef ds:uri="f3f21cfc-4d3e-42b1-8a95-d7209818f9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FF58AEB-2291-40AF-B249-515FE11CFB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FF6784E-6852-4EC6-93B9-B2F40371A23B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f3f21cfc-4d3e-42b1-8a95-d7209818f9d6"/>
    <ds:schemaRef ds:uri="dae585fd-f7dc-4d5a-b1b8-e5742ef77c8f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98</TotalTime>
  <Words>604</Words>
  <Application>Microsoft Office PowerPoint</Application>
  <PresentationFormat>Произвольный</PresentationFormat>
  <Paragraphs>82</Paragraphs>
  <Slides>17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9" baseType="lpstr">
      <vt:lpstr>ALS Sector Regular</vt:lpstr>
      <vt:lpstr>Arial</vt:lpstr>
      <vt:lpstr>Calibri</vt:lpstr>
      <vt:lpstr>Calibri Light</vt:lpstr>
      <vt:lpstr>Gabriela</vt:lpstr>
      <vt:lpstr>Montserrat</vt:lpstr>
      <vt:lpstr>Montserrat Light</vt:lpstr>
      <vt:lpstr>Times New Roman</vt:lpstr>
      <vt:lpstr>ОБЛОЖКИ</vt:lpstr>
      <vt:lpstr>РАЗДЕЛИТЕЛИ</vt:lpstr>
      <vt:lpstr>Тема Office</vt:lpstr>
      <vt:lpstr>think-cell Slide</vt:lpstr>
      <vt:lpstr>Инновационные решения для центров московского долголетия.</vt:lpstr>
      <vt:lpstr>Целевая аудитория:</vt:lpstr>
      <vt:lpstr>Презентация PowerPoint</vt:lpstr>
      <vt:lpstr>Презентация PowerPoint</vt:lpstr>
      <vt:lpstr>Проблемы целевой аудитории:   </vt:lpstr>
      <vt:lpstr>Бизнес-модель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манда</vt:lpstr>
      <vt:lpstr>Контакты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Пешкова Василиса Олеговна</dc:creator>
  <cp:lastModifiedBy>Daria K</cp:lastModifiedBy>
  <cp:revision>254</cp:revision>
  <dcterms:created xsi:type="dcterms:W3CDTF">2021-03-01T12:07:13Z</dcterms:created>
  <dcterms:modified xsi:type="dcterms:W3CDTF">2024-12-03T11:5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stSaved">
    <vt:filetime>2021-03-01T00:00:00Z</vt:filetime>
  </property>
  <property fmtid="{D5CDD505-2E9C-101B-9397-08002B2CF9AE}" pid="3" name="ContentTypeId">
    <vt:lpwstr>0x010100389BBA01C4FE21449AAFFFA76EBF4062</vt:lpwstr>
  </property>
</Properties>
</file>